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Override14.xml" ContentType="application/vnd.openxmlformats-officedocument.themeOverride+xml"/>
  <Override PartName="/ppt/theme/theme1.xml" ContentType="application/vnd.openxmlformats-officedocument.theme+xml"/>
  <Override PartName="/ppt/theme/themeOverride13.xml" ContentType="application/vnd.openxmlformats-officedocument.themeOverride+xml"/>
  <Override PartName="/ppt/theme/themeOverride20.xml" ContentType="application/vnd.openxmlformats-officedocument.themeOverr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21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22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23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24.xml" ContentType="application/vnd.openxmlformats-officedocument.themeOverride+xml"/>
  <Override PartName="/ppt/theme/themeOverride11.xml" ContentType="application/vnd.openxmlformats-officedocument.themeOverride+xml"/>
  <Override PartName="/ppt/theme/themeOverride25.xml" ContentType="application/vnd.openxmlformats-officedocument.themeOverride+xml"/>
  <Override PartName="/ppt/theme/themeOverride12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2.xml" ContentType="application/vnd.openxmlformats-officedocument.theme+xml"/>
  <Override PartName="/ppt/theme/themeOverride19.xml" ContentType="application/vnd.openxmlformats-officedocument.themeOverride+xml"/>
  <Override PartName="/ppt/theme/themeOverride18.xml" ContentType="application/vnd.openxmlformats-officedocument.themeOverride+xml"/>
  <Override PartName="/ppt/theme/themeOverride17.xml" ContentType="application/vnd.openxmlformats-officedocument.themeOverride+xml"/>
  <Override PartName="/ppt/theme/themeOverride16.xml" ContentType="application/vnd.openxmlformats-officedocument.themeOverride+xml"/>
  <Override PartName="/ppt/theme/themeOverride15.xml" ContentType="application/vnd.openxmlformats-officedocument.themeOverr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44.xml" ContentType="application/vnd.openxmlformats-officedocument.presentationml.tags+xml"/>
  <Override PartName="/ppt/tags/tag54.xml" ContentType="application/vnd.openxmlformats-officedocument.presentationml.tags+xml"/>
  <Override PartName="/ppt/tags/tag43.xml" ContentType="application/vnd.openxmlformats-officedocument.presentationml.tags+xml"/>
  <Override PartName="/ppt/tags/tag87.xml" ContentType="application/vnd.openxmlformats-officedocument.presentationml.tags+xml"/>
  <Override PartName="/ppt/tags/tag55.xml" ContentType="application/vnd.openxmlformats-officedocument.presentationml.tags+xml"/>
  <Override PartName="/ppt/tags/tag96.xml" ContentType="application/vnd.openxmlformats-officedocument.presentationml.tags+xml"/>
  <Override PartName="/ppt/tags/tag56.xml" ContentType="application/vnd.openxmlformats-officedocument.presentationml.tags+xml"/>
  <Override PartName="/ppt/tags/tag42.xml" ContentType="application/vnd.openxmlformats-officedocument.presentationml.tags+xml"/>
  <Override PartName="/ppt/tags/tag57.xml" ContentType="application/vnd.openxmlformats-officedocument.presentationml.tags+xml"/>
  <Override PartName="/ppt/tags/tag91.xml" ContentType="application/vnd.openxmlformats-officedocument.presentationml.tags+xml"/>
  <Override PartName="/ppt/tags/tag58.xml" ContentType="application/vnd.openxmlformats-officedocument.presentationml.tags+xml"/>
  <Override PartName="/ppt/tags/tag97.xml" ContentType="application/vnd.openxmlformats-officedocument.presentationml.tags+xml"/>
  <Override PartName="/ppt/tags/tag41.xml" ContentType="application/vnd.openxmlformats-officedocument.presentationml.tags+xml"/>
  <Override PartName="/ppt/tags/tag59.xml" ContentType="application/vnd.openxmlformats-officedocument.presentationml.tags+xml"/>
  <Override PartName="/ppt/tags/tag89.xml" ContentType="application/vnd.openxmlformats-officedocument.presentationml.tags+xml"/>
  <Override PartName="/ppt/tags/tag98.xml" ContentType="application/vnd.openxmlformats-officedocument.presentationml.tags+xml"/>
  <Override PartName="/ppt/tags/tag60.xml" ContentType="application/vnd.openxmlformats-officedocument.presentationml.tags+xml"/>
  <Override PartName="/ppt/tags/tag40.xml" ContentType="application/vnd.openxmlformats-officedocument.presentationml.tags+xml"/>
  <Override PartName="/ppt/tags/tag61.xml" ContentType="application/vnd.openxmlformats-officedocument.presentationml.tags+xml"/>
  <Override PartName="/ppt/tags/tag92.xml" ContentType="application/vnd.openxmlformats-officedocument.presentationml.tags+xml"/>
  <Override PartName="/ppt/tags/tag62.xml" ContentType="application/vnd.openxmlformats-officedocument.presentationml.tags+xml"/>
  <Override PartName="/ppt/tags/tag88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64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38.xml" ContentType="application/vnd.openxmlformats-officedocument.presentationml.tags+xml"/>
  <Override PartName="/docProps/app.xml" ContentType="application/vnd.openxmlformats-officedocument.extended-properties+xml"/>
  <Override PartName="/ppt/tags/tag67.xml" ContentType="application/vnd.openxmlformats-officedocument.presentationml.tags+xml"/>
  <Override PartName="/docMetadata/LabelInfo.xml" ContentType="application/vnd.ms-office.classificationlabels+xml"/>
  <Override PartName="/ppt/tags/tag93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49.xml" ContentType="application/vnd.openxmlformats-officedocument.presentationml.tags+xml"/>
  <Override PartName="/ppt/tags/tag69.xml" ContentType="application/vnd.openxmlformats-officedocument.presentationml.tags+xml"/>
  <Override PartName="/ppt/tags/tag48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50.xml" ContentType="application/vnd.openxmlformats-officedocument.presentationml.tags+xml"/>
  <Override PartName="/ppt/tags/tag72.xml" ContentType="application/vnd.openxmlformats-officedocument.presentationml.tags+xml"/>
  <Override PartName="/ppt/tags/tag46.xml" ContentType="application/vnd.openxmlformats-officedocument.presentationml.tags+xml"/>
  <Override PartName="/ppt/tags/tag73.xml" ContentType="application/vnd.openxmlformats-officedocument.presentationml.tags+xml"/>
  <Override PartName="/ppt/tags/tag90.xml" ContentType="application/vnd.openxmlformats-officedocument.presentationml.tags+xml"/>
  <Override PartName="/ppt/tags/tag51.xml" ContentType="application/vnd.openxmlformats-officedocument.presentationml.tags+xml"/>
  <Override PartName="/ppt/tags/tag74.xml" ContentType="application/vnd.openxmlformats-officedocument.presentationml.tags+xml"/>
  <Override PartName="/ppt/tags/tag94.xml" ContentType="application/vnd.openxmlformats-officedocument.presentationml.tags+xml"/>
  <Override PartName="/ppt/tags/tag52.xml" ContentType="application/vnd.openxmlformats-officedocument.presentationml.tags+xml"/>
  <Override PartName="/ppt/tags/tag75.xml" ContentType="application/vnd.openxmlformats-officedocument.presentationml.tags+xml"/>
  <Override PartName="/ppt/tags/tag45.xml" ContentType="application/vnd.openxmlformats-officedocument.presentationml.tags+xml"/>
  <Override PartName="/ppt/tags/tag47.xml" ContentType="application/vnd.openxmlformats-officedocument.presentationml.tags+xml"/>
  <Override PartName="/ppt/tags/tag53.xml" ContentType="application/vnd.openxmlformats-officedocument.presentationml.tags+xml"/>
  <Override PartName="/ppt/tags/tag9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147380510" r:id="rId2"/>
    <p:sldId id="2147380511" r:id="rId3"/>
    <p:sldId id="2147380512" r:id="rId4"/>
    <p:sldId id="2147380513" r:id="rId5"/>
    <p:sldId id="2147380514" r:id="rId6"/>
    <p:sldId id="2147380515" r:id="rId7"/>
    <p:sldId id="2147380516" r:id="rId8"/>
    <p:sldId id="2147380517" r:id="rId9"/>
    <p:sldId id="2147380518" r:id="rId10"/>
    <p:sldId id="2147380519" r:id="rId11"/>
    <p:sldId id="2147380520" r:id="rId12"/>
    <p:sldId id="2147380521" r:id="rId13"/>
    <p:sldId id="2147380522" r:id="rId14"/>
    <p:sldId id="2147380523" r:id="rId15"/>
    <p:sldId id="2147380524" r:id="rId16"/>
    <p:sldId id="2147380527" r:id="rId17"/>
    <p:sldId id="2147380528" r:id="rId18"/>
    <p:sldId id="2147380529" r:id="rId19"/>
    <p:sldId id="2147380530" r:id="rId20"/>
    <p:sldId id="2147380531" r:id="rId21"/>
    <p:sldId id="2147380532" r:id="rId22"/>
    <p:sldId id="2147380533" r:id="rId23"/>
    <p:sldId id="2147380534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179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02AF21-D9B1-4167-BE6C-C1608CDC8E4D}" type="datetimeFigureOut">
              <a:rPr lang="en-IN" smtClean="0"/>
              <a:t>19-02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F3D0DA-923D-4D48-A2DA-66AC28693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6329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4.xml"/><Relationship Id="rId7" Type="http://schemas.openxmlformats.org/officeDocument/2006/relationships/image" Target="../media/image7.png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6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9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3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5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0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6.xml"/><Relationship Id="rId7" Type="http://schemas.openxmlformats.org/officeDocument/2006/relationships/image" Target="../media/image6.png"/><Relationship Id="rId2" Type="http://schemas.openxmlformats.org/officeDocument/2006/relationships/tags" Target="../tags/tag65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7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8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4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3246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093CC67-959F-4025-8633-E74293F6B412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13849C-5FB3-4056-8F19-36969D0EFF73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698880B8-EC43-453F-9776-5CC8A26630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81" y="3214918"/>
            <a:ext cx="7930038" cy="1678909"/>
          </a:xfr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buNone/>
              <a:defRPr sz="135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011CA7C6-436A-4D50-84CE-D20D744800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9509" y="6088723"/>
            <a:ext cx="2057400" cy="3657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2/19/2024</a:t>
            </a:fld>
            <a:endParaRPr lang="en-US"/>
          </a:p>
        </p:txBody>
      </p:sp>
      <p:sp>
        <p:nvSpPr>
          <p:cNvPr id="24" name="Title 13">
            <a:extLst>
              <a:ext uri="{FF2B5EF4-FFF2-40B4-BE49-F238E27FC236}">
                <a16:creationId xmlns:a16="http://schemas.microsoft.com/office/drawing/2014/main" id="{BE81AE1C-0D9E-4B80-869B-D19C9DBBA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475832"/>
            <a:ext cx="7930038" cy="1678909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15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Copyright">
            <a:extLst>
              <a:ext uri="{FF2B5EF4-FFF2-40B4-BE49-F238E27FC236}">
                <a16:creationId xmlns:a16="http://schemas.microsoft.com/office/drawing/2014/main" id="{FA0B86B2-FA89-4201-B142-9BD2A2B8BE5F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53AD205F-ED3B-4B8D-9794-3A6A5D63DA1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8571" y="6005583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74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A6E026-9AAF-4AE7-8963-9262839BC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1990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6E026-9AAF-4AE7-8963-9262839BC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0CB49041-215A-41B3-8DF1-B7DB856293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9" name="Copyright">
            <a:extLst>
              <a:ext uri="{FF2B5EF4-FFF2-40B4-BE49-F238E27FC236}">
                <a16:creationId xmlns:a16="http://schemas.microsoft.com/office/drawing/2014/main" id="{AA86AA5B-2138-4425-9CE2-DF5EBB0DCBB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9C9F66-5AEB-4B43-BE11-4C137ABBE69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55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7D9FFDC-B2AA-49B9-A83A-CECDDE8B8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9820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D9FFDC-B2AA-49B9-A83A-CECDDE8B8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804650"/>
            <a:ext cx="468566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D2E5596A-E7A3-43BF-8048-10F5C26BA4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10684DCD-A4C4-4AE2-8E0F-8FDE5E5905D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A43997-8FD9-4AC8-B6B0-C4734BF9F60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912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B32F6D-1B00-42C8-A009-27F396DBE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51919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B32F6D-1B00-42C8-A009-27F396DBE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ADABBBA0-E8DB-4BB2-BCBB-59323CA39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 sz="255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550E85A4-C31B-499B-8265-8959F8A0FD6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823931-CC32-4D35-A746-55A832AD9C8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20" name="Picture 19" descr="A picture containing clock&#10;&#10;Description automatically generated">
            <a:extLst>
              <a:ext uri="{FF2B5EF4-FFF2-40B4-BE49-F238E27FC236}">
                <a16:creationId xmlns:a16="http://schemas.microsoft.com/office/drawing/2014/main" id="{7DE6D451-A865-4572-929C-D154F381202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631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FD602F-C95D-4DDF-829E-CDD534E1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66692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D602F-C95D-4DDF-829E-CDD534E1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 sz="255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CFEAF1CD-EC94-4177-A98D-E3FCE4A767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0AE53871-DF2D-4237-A568-D43257D9BB7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940D9B-BAF2-431E-94F8-4A2157DD931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5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30985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pyright">
            <a:extLst>
              <a:ext uri="{FF2B5EF4-FFF2-40B4-BE49-F238E27FC236}">
                <a16:creationId xmlns:a16="http://schemas.microsoft.com/office/drawing/2014/main" id="{A34DCE51-2784-4BC4-88C3-86CFBD220E8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1E6A48-3B1B-408B-81B0-486478B94AC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FDC12B22-E678-46C4-A930-2CCE047884E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33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72752C-D67C-4DAE-B075-54C47F74E4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81870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72752C-D67C-4DAE-B075-54C47F74E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A5E521FF-37D5-4BE6-877A-B7AAB62CB4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5" name="Copyright">
            <a:extLst>
              <a:ext uri="{FF2B5EF4-FFF2-40B4-BE49-F238E27FC236}">
                <a16:creationId xmlns:a16="http://schemas.microsoft.com/office/drawing/2014/main" id="{E2363D49-1BC5-40B5-B55F-0FBBBB4F160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C6DBBD-8832-481C-9BA0-250A855FADA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42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2FF61B-4919-4685-A211-AC9FDC166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8935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2FF61B-4919-4685-A211-AC9FDC166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4E27A71A-3E05-41D1-B7E3-644A73644DA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19E433-29A6-4530-A049-5B6E7417267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20" name="Picture 19" descr="A picture containing clock&#10;&#10;Description automatically generated">
            <a:extLst>
              <a:ext uri="{FF2B5EF4-FFF2-40B4-BE49-F238E27FC236}">
                <a16:creationId xmlns:a16="http://schemas.microsoft.com/office/drawing/2014/main" id="{7E7B6BA1-FA4B-4BA2-8D9B-4E1F0EE038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3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94DC70-499E-49BE-87F1-B8B4F9E05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5437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4DC70-499E-49BE-87F1-B8B4F9E05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7DEB216E-E833-4DFF-B4AC-7C72E15B60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1935E0B0-BB81-424A-B1C3-87A152067DA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25CE36-F473-41E9-9758-ABAFAFAF8D39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F571F5-236A-4337-A496-E4181DFBF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40468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F571F5-236A-4337-A496-E4181DFBF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75090976-9ECD-4D8F-B330-B9A275CCCB9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C13F36-A188-42B0-8493-F102601670D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C75636AF-D05D-4087-8077-0E5E16B105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42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5F71168-C41C-4186-96AB-51BD96AE4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5009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71168-C41C-4186-96AB-51BD96AE4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12" descr="A picture containing clock&#10;&#10;Description automatically generated">
            <a:extLst>
              <a:ext uri="{FF2B5EF4-FFF2-40B4-BE49-F238E27FC236}">
                <a16:creationId xmlns:a16="http://schemas.microsoft.com/office/drawing/2014/main" id="{ADBC8D49-A008-4CB9-BAEC-9DF908B120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E06E6B6-9119-4C27-9BF6-4605E387EC9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5B0EF2-4209-4840-918E-0C1D075C10D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02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814B9406-71D0-879E-6BDC-CD708348FC4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285012-5976-4241-9035-CCD96B6DE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56164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85012-5976-4241-9035-CCD96B6DE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093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B3EA5A-94E2-4169-98CC-B06548977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07888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B3EA5A-94E2-4169-98CC-B06548977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8859097-BE8F-4156-944E-DE57EC806DF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B5B35F-E405-4A21-AE09-A43A3935B06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3" name="Picture 12" descr="A picture containing clock&#10;&#10;Description automatically generated">
            <a:extLst>
              <a:ext uri="{FF2B5EF4-FFF2-40B4-BE49-F238E27FC236}">
                <a16:creationId xmlns:a16="http://schemas.microsoft.com/office/drawing/2014/main" id="{5BC1E5E9-B7CB-4EAE-B3E4-D177BC5FE6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76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0301A0-70D1-47A5-81B2-A1BE2CFC5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113923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0301A0-70D1-47A5-81B2-A1BE2CFC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1488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1318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0912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A755745E-4BB8-4B6B-BD44-8629802D5F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1" name="Copyright">
            <a:extLst>
              <a:ext uri="{FF2B5EF4-FFF2-40B4-BE49-F238E27FC236}">
                <a16:creationId xmlns:a16="http://schemas.microsoft.com/office/drawing/2014/main" id="{CB0128C0-4EEA-461E-B9F6-8818D8DAEB1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1841AA-C354-4A0A-BEB4-17F9679CCE6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8319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25BA21E-64BF-49D1-82DE-60811ADF4E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06062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5BA21E-64BF-49D1-82DE-60811ADF4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</p:spPr>
        <p:txBody>
          <a:bodyPr vert="horz"/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3A55724B-A41A-4B68-8CA0-6DC33C3F8E7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0" name="Copyright">
            <a:extLst>
              <a:ext uri="{FF2B5EF4-FFF2-40B4-BE49-F238E27FC236}">
                <a16:creationId xmlns:a16="http://schemas.microsoft.com/office/drawing/2014/main" id="{471B74DE-6BC3-4800-8466-2ECD624AE82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C77D1-EBB1-479E-87CF-3550025539C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1660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D89007-403D-423A-AC9F-F92EC7265E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203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89007-403D-423A-AC9F-F92EC7265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76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43DA4FE-F026-4A39-BF14-577F32FE4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63173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3DA4FE-F026-4A39-BF14-577F32FE4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E13DDAD1-8961-4057-82BE-1E730E78EB0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27C30F-3DA6-495B-8169-662376FFD75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746E12E5-7D11-44D2-9FDE-364AD1A936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65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BC388F1-9B38-4226-8D08-B8F7117199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6167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C388F1-9B38-4226-8D08-B8F711719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55124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8D192FC-778D-4835-93FB-66C90CEEFABB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5AF406-E748-4292-AC2F-FC0A8497DAE1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F958547A-9FEC-4153-A218-56618FB1E2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17597" y="2352955"/>
            <a:ext cx="4108811" cy="1453457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7EAE3651-A526-49DB-B739-C1122A597289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73025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9F6AA6-42E4-4449-A13B-B50FCD2E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67215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9F6AA6-42E4-4449-A13B-B50FCD2E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4636B15-3AC7-4BFD-8073-4971086BB58C}"/>
              </a:ext>
            </a:extLst>
          </p:cNvPr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B0D92EF-0542-47C7-A2D1-EA021ADDF86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22801 h 6858000"/>
                <a:gd name="connsiteX2" fmla="*/ 628650 w 12193200"/>
                <a:gd name="connsiteY2" fmla="*/ 622801 h 6858000"/>
                <a:gd name="connsiteX3" fmla="*/ 628650 w 12193200"/>
                <a:gd name="connsiteY3" fmla="*/ 6442949 h 6858000"/>
                <a:gd name="connsiteX4" fmla="*/ 11563350 w 12193200"/>
                <a:gd name="connsiteY4" fmla="*/ 6442949 h 6858000"/>
                <a:gd name="connsiteX5" fmla="*/ 11563350 w 12193200"/>
                <a:gd name="connsiteY5" fmla="*/ 622801 h 6858000"/>
                <a:gd name="connsiteX6" fmla="*/ 11562000 w 12193200"/>
                <a:gd name="connsiteY6" fmla="*/ 62280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22801"/>
                  </a:lnTo>
                  <a:lnTo>
                    <a:pt x="628650" y="622801"/>
                  </a:lnTo>
                  <a:lnTo>
                    <a:pt x="628650" y="6442949"/>
                  </a:lnTo>
                  <a:lnTo>
                    <a:pt x="11563350" y="6442949"/>
                  </a:lnTo>
                  <a:lnTo>
                    <a:pt x="11563350" y="622801"/>
                  </a:lnTo>
                  <a:lnTo>
                    <a:pt x="11562000" y="62280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1251B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2AA1026F-E600-4F92-8E8A-D92A5539F973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BF26676-66F6-4BD1-B84C-02244FE3EDB2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DF569B80-8CA5-4F49-85AE-325D2F3D1829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61C4A750-0AF2-4FE9-B948-335686F9F8FA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A852159F-B822-4987-85DF-C7F4764151D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22EBF8E-A6A6-4967-84BC-1C3F02A59696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78ACC6A-F495-4D53-91F4-C959CA266B08}"/>
                </a:ext>
              </a:extLst>
            </p:cNvPr>
            <p:cNvCxnSpPr/>
            <p:nvPr/>
          </p:nvCxnSpPr>
          <p:spPr>
            <a:xfrm>
              <a:off x="-600" y="23630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238DE1C8-09AA-4189-9F1D-19A9B6DFA023}"/>
                </a:ext>
              </a:extLst>
            </p:cNvPr>
            <p:cNvCxnSpPr/>
            <p:nvPr/>
          </p:nvCxnSpPr>
          <p:spPr>
            <a:xfrm>
              <a:off x="-600" y="26449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F9F07F57-2915-4BC9-8D7A-E8F15D438277}"/>
                </a:ext>
              </a:extLst>
            </p:cNvPr>
            <p:cNvCxnSpPr/>
            <p:nvPr/>
          </p:nvCxnSpPr>
          <p:spPr>
            <a:xfrm>
              <a:off x="-600" y="292683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E410D83-E8CB-4BA6-99E7-BE9C7458E6CA}"/>
                </a:ext>
              </a:extLst>
            </p:cNvPr>
            <p:cNvCxnSpPr/>
            <p:nvPr/>
          </p:nvCxnSpPr>
          <p:spPr>
            <a:xfrm>
              <a:off x="-600" y="320870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0299EF8-71A4-40D0-8BE0-0B20CD71B95E}"/>
                </a:ext>
              </a:extLst>
            </p:cNvPr>
            <p:cNvCxnSpPr/>
            <p:nvPr/>
          </p:nvCxnSpPr>
          <p:spPr>
            <a:xfrm>
              <a:off x="-600" y="34905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E03FD65-4257-45B4-8C65-ABB085C6CAEA}"/>
                </a:ext>
              </a:extLst>
            </p:cNvPr>
            <p:cNvCxnSpPr/>
            <p:nvPr/>
          </p:nvCxnSpPr>
          <p:spPr>
            <a:xfrm>
              <a:off x="-600" y="377245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4BF86BDF-7BC5-4A22-A165-B381A438E552}"/>
                </a:ext>
              </a:extLst>
            </p:cNvPr>
            <p:cNvCxnSpPr/>
            <p:nvPr/>
          </p:nvCxnSpPr>
          <p:spPr>
            <a:xfrm>
              <a:off x="-600" y="405433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003D54C3-EEB0-45A3-8487-2B8D8F3F8A5B}"/>
                </a:ext>
              </a:extLst>
            </p:cNvPr>
            <p:cNvCxnSpPr/>
            <p:nvPr/>
          </p:nvCxnSpPr>
          <p:spPr>
            <a:xfrm>
              <a:off x="-600" y="433620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55B0598-C698-41B3-B5BE-A9D66F3FC647}"/>
                </a:ext>
              </a:extLst>
            </p:cNvPr>
            <p:cNvCxnSpPr/>
            <p:nvPr/>
          </p:nvCxnSpPr>
          <p:spPr>
            <a:xfrm>
              <a:off x="-600" y="46180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3DE51B4E-2B16-4A20-AA67-C66CC75FA6F3}"/>
                </a:ext>
              </a:extLst>
            </p:cNvPr>
            <p:cNvCxnSpPr/>
            <p:nvPr/>
          </p:nvCxnSpPr>
          <p:spPr>
            <a:xfrm>
              <a:off x="-600" y="489995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C16A977A-D782-438F-BF1D-0CA9819D1211}"/>
                </a:ext>
              </a:extLst>
            </p:cNvPr>
            <p:cNvCxnSpPr/>
            <p:nvPr/>
          </p:nvCxnSpPr>
          <p:spPr>
            <a:xfrm>
              <a:off x="-600" y="51818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76BF523-D9E2-4745-871D-995E0D35AC69}"/>
                </a:ext>
              </a:extLst>
            </p:cNvPr>
            <p:cNvCxnSpPr/>
            <p:nvPr/>
          </p:nvCxnSpPr>
          <p:spPr>
            <a:xfrm>
              <a:off x="-600" y="54637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6AFD03E-CD8B-42EF-80F4-FECB4FF95C66}"/>
                </a:ext>
              </a:extLst>
            </p:cNvPr>
            <p:cNvCxnSpPr/>
            <p:nvPr/>
          </p:nvCxnSpPr>
          <p:spPr>
            <a:xfrm>
              <a:off x="-600" y="57455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343CB188-4B03-45F5-AE08-6CE19C710DC9}"/>
                </a:ext>
              </a:extLst>
            </p:cNvPr>
            <p:cNvCxnSpPr/>
            <p:nvPr/>
          </p:nvCxnSpPr>
          <p:spPr>
            <a:xfrm>
              <a:off x="-600" y="60274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Gutter space">
              <a:extLst>
                <a:ext uri="{FF2B5EF4-FFF2-40B4-BE49-F238E27FC236}">
                  <a16:creationId xmlns:a16="http://schemas.microsoft.com/office/drawing/2014/main" id="{EF2D95A0-0C10-4F84-B951-67EC9A9876B5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4652"/>
              <a:chOff x="1277000" y="623550"/>
              <a:chExt cx="9638000" cy="5537047"/>
            </a:xfrm>
          </p:grpSpPr>
          <p:sp>
            <p:nvSpPr>
              <p:cNvPr id="125" name="Rectangle 34">
                <a:extLst>
                  <a:ext uri="{FF2B5EF4-FFF2-40B4-BE49-F238E27FC236}">
                    <a16:creationId xmlns:a16="http://schemas.microsoft.com/office/drawing/2014/main" id="{74478F7E-ABAF-4AAA-B16D-8F38953A5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" name="Rectangle 35">
                <a:extLst>
                  <a:ext uri="{FF2B5EF4-FFF2-40B4-BE49-F238E27FC236}">
                    <a16:creationId xmlns:a16="http://schemas.microsoft.com/office/drawing/2014/main" id="{8A89EDC6-5604-4CBE-AA4C-BFE43560DF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" name="Rectangle 36">
                <a:extLst>
                  <a:ext uri="{FF2B5EF4-FFF2-40B4-BE49-F238E27FC236}">
                    <a16:creationId xmlns:a16="http://schemas.microsoft.com/office/drawing/2014/main" id="{6D2AF1F0-F88B-4795-848B-F621871E7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8" name="Rectangle 37">
                <a:extLst>
                  <a:ext uri="{FF2B5EF4-FFF2-40B4-BE49-F238E27FC236}">
                    <a16:creationId xmlns:a16="http://schemas.microsoft.com/office/drawing/2014/main" id="{3F8052D3-2ECF-481E-B54B-6736C40C0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9" name="Rectangle 38">
                <a:extLst>
                  <a:ext uri="{FF2B5EF4-FFF2-40B4-BE49-F238E27FC236}">
                    <a16:creationId xmlns:a16="http://schemas.microsoft.com/office/drawing/2014/main" id="{C4CE936D-844F-4873-885F-715567A468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0" name="Rectangle 39">
                <a:extLst>
                  <a:ext uri="{FF2B5EF4-FFF2-40B4-BE49-F238E27FC236}">
                    <a16:creationId xmlns:a16="http://schemas.microsoft.com/office/drawing/2014/main" id="{2878B1E5-C24B-4D38-8F10-183032376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1" name="Rectangle 40">
                <a:extLst>
                  <a:ext uri="{FF2B5EF4-FFF2-40B4-BE49-F238E27FC236}">
                    <a16:creationId xmlns:a16="http://schemas.microsoft.com/office/drawing/2014/main" id="{F1D17D2E-9A80-4B69-96C7-A92976854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2" name="Rectangle 41">
                <a:extLst>
                  <a:ext uri="{FF2B5EF4-FFF2-40B4-BE49-F238E27FC236}">
                    <a16:creationId xmlns:a16="http://schemas.microsoft.com/office/drawing/2014/main" id="{B262DE92-FA0A-4460-9BBE-ED29892B8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3" name="Rectangle 42">
                <a:extLst>
                  <a:ext uri="{FF2B5EF4-FFF2-40B4-BE49-F238E27FC236}">
                    <a16:creationId xmlns:a16="http://schemas.microsoft.com/office/drawing/2014/main" id="{186E192D-00F8-4F12-AC1B-D78EF7AE22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8" name="Rectangle 43">
                <a:extLst>
                  <a:ext uri="{FF2B5EF4-FFF2-40B4-BE49-F238E27FC236}">
                    <a16:creationId xmlns:a16="http://schemas.microsoft.com/office/drawing/2014/main" id="{FAEB8EA2-6636-4BD0-981F-AEF4CE61F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9" name="Rectangle 44">
                <a:extLst>
                  <a:ext uri="{FF2B5EF4-FFF2-40B4-BE49-F238E27FC236}">
                    <a16:creationId xmlns:a16="http://schemas.microsoft.com/office/drawing/2014/main" id="{67D8D79C-0532-46FF-8594-EFA65F4260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14" name="Slide edges">
              <a:extLst>
                <a:ext uri="{FF2B5EF4-FFF2-40B4-BE49-F238E27FC236}">
                  <a16:creationId xmlns:a16="http://schemas.microsoft.com/office/drawing/2014/main" id="{93E2C7C1-F8A1-46E0-B9E1-B70742B9A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Footnote measure">
              <a:extLst>
                <a:ext uri="{FF2B5EF4-FFF2-40B4-BE49-F238E27FC236}">
                  <a16:creationId xmlns:a16="http://schemas.microsoft.com/office/drawing/2014/main" id="{691CAB54-0BD3-4BEC-87C2-8FE5F11E2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27452"/>
              <a:ext cx="10934700" cy="41549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6" name="Whitespace measure">
              <a:extLst>
                <a:ext uri="{FF2B5EF4-FFF2-40B4-BE49-F238E27FC236}">
                  <a16:creationId xmlns:a16="http://schemas.microsoft.com/office/drawing/2014/main" id="{52C4C0ED-EE24-4095-925C-23657B2BF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563644"/>
              <a:ext cx="10934700" cy="517569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117" name="Five column measure">
              <a:extLst>
                <a:ext uri="{FF2B5EF4-FFF2-40B4-BE49-F238E27FC236}">
                  <a16:creationId xmlns:a16="http://schemas.microsoft.com/office/drawing/2014/main" id="{AE1C1A0A-1E6B-4510-88CD-5CABA6FD7D1C}"/>
                </a:ext>
              </a:extLst>
            </p:cNvPr>
            <p:cNvGrpSpPr/>
            <p:nvPr/>
          </p:nvGrpSpPr>
          <p:grpSpPr>
            <a:xfrm>
              <a:off x="629400" y="5846746"/>
              <a:ext cx="10933200" cy="79536"/>
              <a:chOff x="629400" y="5975122"/>
              <a:chExt cx="10933200" cy="79536"/>
            </a:xfrm>
          </p:grpSpPr>
          <p:sp>
            <p:nvSpPr>
              <p:cNvPr id="120" name="Rectangle 5">
                <a:extLst>
                  <a:ext uri="{FF2B5EF4-FFF2-40B4-BE49-F238E27FC236}">
                    <a16:creationId xmlns:a16="http://schemas.microsoft.com/office/drawing/2014/main" id="{B59DDAFB-82B0-4446-A40F-51750644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" name="Rectangle 7">
                <a:extLst>
                  <a:ext uri="{FF2B5EF4-FFF2-40B4-BE49-F238E27FC236}">
                    <a16:creationId xmlns:a16="http://schemas.microsoft.com/office/drawing/2014/main" id="{7764FAB5-E13D-48F6-B5CE-21163F89FF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" name="Rectangle 9">
                <a:extLst>
                  <a:ext uri="{FF2B5EF4-FFF2-40B4-BE49-F238E27FC236}">
                    <a16:creationId xmlns:a16="http://schemas.microsoft.com/office/drawing/2014/main" id="{E3299C03-2582-49C1-A161-6FCFACC5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" name="Rectangle 11">
                <a:extLst>
                  <a:ext uri="{FF2B5EF4-FFF2-40B4-BE49-F238E27FC236}">
                    <a16:creationId xmlns:a16="http://schemas.microsoft.com/office/drawing/2014/main" id="{E76B5887-1E00-4A06-AEBD-421E1F2A8F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" name="Rectangle 13">
                <a:extLst>
                  <a:ext uri="{FF2B5EF4-FFF2-40B4-BE49-F238E27FC236}">
                    <a16:creationId xmlns:a16="http://schemas.microsoft.com/office/drawing/2014/main" id="{60E79BC3-FB4F-4D0C-B519-0399982C7D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18" name="Live area">
              <a:extLst>
                <a:ext uri="{FF2B5EF4-FFF2-40B4-BE49-F238E27FC236}">
                  <a16:creationId xmlns:a16="http://schemas.microsoft.com/office/drawing/2014/main" id="{551E057E-47F1-49C0-A8E0-32F9D5A70137}"/>
                </a:ext>
              </a:extLst>
            </p:cNvPr>
            <p:cNvSpPr/>
            <p:nvPr/>
          </p:nvSpPr>
          <p:spPr>
            <a:xfrm>
              <a:off x="628650" y="2081213"/>
              <a:ext cx="10934700" cy="394623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1251B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119" name="Footnote example">
              <a:extLst>
                <a:ext uri="{FF2B5EF4-FFF2-40B4-BE49-F238E27FC236}">
                  <a16:creationId xmlns:a16="http://schemas.microsoft.com/office/drawing/2014/main" id="{BFDE0E7D-0074-4949-A792-A08AAD636E17}"/>
                </a:ext>
              </a:extLst>
            </p:cNvPr>
            <p:cNvSpPr txBox="1"/>
            <p:nvPr/>
          </p:nvSpPr>
          <p:spPr>
            <a:xfrm>
              <a:off x="630000" y="6131325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399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90826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2C719C-D696-4502-83BD-76BEB212E9BF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CFFB197-5414-42AB-A48D-8A15AD6FCBF2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9476FA9C-7423-4A7B-8E2F-11E3F659E0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81" y="3214918"/>
            <a:ext cx="7930038" cy="1678909"/>
          </a:xfr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buNone/>
              <a:defRPr sz="135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8576708B-E713-409E-B5B8-A804FA508A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9509" y="6088723"/>
            <a:ext cx="2057400" cy="3657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2/19/2024</a:t>
            </a:fld>
            <a:endParaRPr lang="en-US"/>
          </a:p>
        </p:txBody>
      </p:sp>
      <p:sp>
        <p:nvSpPr>
          <p:cNvPr id="24" name="Title 13">
            <a:extLst>
              <a:ext uri="{FF2B5EF4-FFF2-40B4-BE49-F238E27FC236}">
                <a16:creationId xmlns:a16="http://schemas.microsoft.com/office/drawing/2014/main" id="{79CE4D10-68D9-407E-A2C9-99EA38662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475832"/>
            <a:ext cx="7930038" cy="1678909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15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Copyright">
            <a:extLst>
              <a:ext uri="{FF2B5EF4-FFF2-40B4-BE49-F238E27FC236}">
                <a16:creationId xmlns:a16="http://schemas.microsoft.com/office/drawing/2014/main" id="{994DDA34-D8BC-4627-BADB-C520D90E3E67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E6516FC0-4DCB-4F6D-B20D-D6A43E175E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8571" y="6005583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ADFBBF-617C-4E9B-BCEA-CB96AEBA3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632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ADFBBF-617C-4E9B-BCEA-CB96AEBA3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200013" cy="353174"/>
          </a:xfrm>
        </p:spPr>
        <p:txBody>
          <a:bodyPr vert="horz"/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081214"/>
            <a:ext cx="8201025" cy="3946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268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29B4141A-E46E-432C-A840-1B57FC08162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AC102B-3E7F-4092-83C3-3522B3111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7323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AC102B-3E7F-4092-83C3-3522B3111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249299"/>
          </a:xfr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159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5639C2F-13CA-494C-94E6-BFB4593CE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17936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639C2F-13CA-494C-94E6-BFB4593CE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081214"/>
            <a:ext cx="8201025" cy="3946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44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017E3C-8937-481E-B81C-39665FD49F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1880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017E3C-8937-481E-B81C-39665FD49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67DC99F-E926-4D09-B936-C5971C95D8F9}"/>
              </a:ext>
            </a:extLst>
          </p:cNvPr>
          <p:cNvSpPr/>
          <p:nvPr userDrawn="1"/>
        </p:nvSpPr>
        <p:spPr>
          <a:xfrm>
            <a:off x="0" y="0"/>
            <a:ext cx="9144000" cy="2990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2158988"/>
            <a:ext cx="2808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227049"/>
            <a:ext cx="2808000" cy="664797"/>
          </a:xfrm>
        </p:spPr>
        <p:txBody>
          <a:bodyPr vert="horz" anchor="t">
            <a:noAutofit/>
          </a:bodyPr>
          <a:lstStyle>
            <a:lvl1pPr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D9B4C64-710B-405F-8D64-25BB463DD19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E7257B-A3D4-425B-9312-DE98D090761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347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3356A1-FF1D-4EB9-9324-000E84560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8280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3356A1-FF1D-4EB9-9324-000E84560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2668041"/>
            <a:ext cx="8201025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471488" y="1424082"/>
            <a:ext cx="71379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38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1BC5B3-7CF1-45E7-8571-D2693A59D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6145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1BC5B3-7CF1-45E7-8571-D2693A59D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3826800"/>
            <a:ext cx="8201025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1488" y="3680016"/>
            <a:ext cx="866995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04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69B7DC-1E9F-4921-9F07-7918341C5A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575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69B7DC-1E9F-4921-9F07-7918341C5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08459A17-E4B7-4580-A9E7-EE79E6FF8D9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05F59D-5F50-4BD6-8A11-63321B6D1A7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10C5C9FB-129F-488F-ADA6-F1746C65E7E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528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C16F76-FC2A-40B3-B447-FDB733785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55052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16F76-FC2A-40B3-B447-FDB733785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70739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E525093-49FA-4B42-B10C-64A30CF3493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B55892B-541F-4DEC-A9C4-68C07A0DC82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2564FDA4-125D-4D50-A78A-1F297FBF29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627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A886A8-A21A-4D7D-9581-57D52773C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74731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A886A8-A21A-4D7D-9581-57D52773C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6076188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4B1A876D-6EBC-4454-8FD4-A5127E3ED2D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1D0F9D-7918-440A-A7EB-2038892F3C6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D895F0B0-9196-4D31-8CE9-E194A43BF00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51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D963C889-E85C-D29E-F36E-FA97815D75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6D2032-1E12-4872-953C-395990DE9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08685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6D2032-1E12-4872-953C-395990DE9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7DE91006-2E60-42EB-9B37-ADD2CDA8D8D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92633160-3B74-42DD-8F03-08060631BC7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1708B0-DF9D-4C71-BCD0-47351D21627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136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FCC05E-857C-486A-909B-172052F1F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76068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FCC05E-857C-486A-909B-172052F1F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C5256C72-F756-4671-B7F8-213AEB8BE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9" name="Copyright">
            <a:extLst>
              <a:ext uri="{FF2B5EF4-FFF2-40B4-BE49-F238E27FC236}">
                <a16:creationId xmlns:a16="http://schemas.microsoft.com/office/drawing/2014/main" id="{C9EA76F3-418B-44C8-A221-9B8C8294CFD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D684A-3CEB-486E-967B-E230C432FFC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41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5213D7-C4A0-4E43-B75A-4B6180D1F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6062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5213D7-C4A0-4E43-B75A-4B6180D1F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2FCCF31-3442-4D34-B48D-12E0B8880D52}"/>
              </a:ext>
            </a:extLst>
          </p:cNvPr>
          <p:cNvSpPr/>
          <p:nvPr userDrawn="1"/>
        </p:nvSpPr>
        <p:spPr>
          <a:xfrm>
            <a:off x="0" y="0"/>
            <a:ext cx="9144000" cy="2990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544274"/>
            <a:ext cx="25893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E7BC873C-35EE-48BD-983A-83E7F19C30A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C75DC5-CC3C-4E50-80D4-B8277C6BEF2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497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387F8E-2093-4218-8957-D4167377F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30955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87F8E-2093-4218-8957-D4167377F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785600"/>
            <a:ext cx="468566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B27429DE-A2C7-4BDF-A525-DB923C9C06F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84853A4C-2BF2-49DE-A95B-8FB00A19361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227EB9-5E83-4325-96A8-BA36A4E07A6F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805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78980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3F5EAB28-DB5E-43E3-8CD8-498BA4B46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>
            <a:extLst>
              <a:ext uri="{FF2B5EF4-FFF2-40B4-BE49-F238E27FC236}">
                <a16:creationId xmlns:a16="http://schemas.microsoft.com/office/drawing/2014/main" id="{7881D1CD-0BD4-4F3F-8862-BE0278523BD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1B91FB-B557-457F-9C6A-61B5F48DB0A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33DEFF83-B2F2-4FE3-98DC-57FA721C7B5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96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FA1512-9FF3-4236-B941-D56E9C7D07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24513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FA1512-9FF3-4236-B941-D56E9C7D0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EA4BDE06-BB30-4AD7-B046-C74C929DBA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89C49FFD-9996-4290-8F8E-3DF9D74AFA1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5F0785-2F46-4010-B5FD-A7870DA27139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19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382DE1-C68A-42AB-84D6-8B1172ED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25557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382DE1-C68A-42AB-84D6-8B1172ED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270BEA33-0118-481A-8003-B6AA5FE1630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4A57A9-FD52-4E11-9615-85974FA4B86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891BD2E5-8B84-423B-B0AC-ED714962FE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210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35E707-2BC2-41CE-A90F-6950BFA257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6894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5E707-2BC2-41CE-A90F-6950BFA25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959DA61E-565E-4833-955B-276B17451F0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931326E6-CB76-4716-BC80-041CE6C0CD3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F5DA6D-9F4A-4C7D-B862-EF08979CA23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94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D34CCB-2A6B-400F-8EA2-7A1B67CA9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946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D34CCB-2A6B-400F-8EA2-7A1B67CA9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329BD176-2900-485F-8F0B-BE6F193C406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D3381C-64E7-4471-8353-9E10DE13499E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C3CB9010-D3B4-4A02-A373-2047BD8C5F0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825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42C823-D584-4706-B2B1-676839517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008824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42C823-D584-4706-B2B1-676839517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1F9A2A0C-D451-4852-BBA5-CC6C0906D5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E9B5CADD-B132-4D2F-9051-199090B871F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F83C66-35CA-4D26-A5D8-C8519D72385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17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83BA3F-B074-4BA5-9C53-B6FE73BA5F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17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83BA3F-B074-4BA5-9C53-B6FE73BA5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5655F8F1-2D03-4597-8C28-3140C47D7583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3D023B-3120-432B-AE7E-B88C675D36F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8A923208-7851-49FB-A184-DA31AB6911D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19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0B25C7-E9DE-4EEC-A9DB-D7CC4D835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0745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0B25C7-E9DE-4EEC-A9DB-D7CC4D835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D95FC53A-5CE8-4F94-8024-E21CD78FE8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4F543B96-D552-4A83-85AD-B76B06C5C95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DFDA6A-BF08-48E7-975D-B9C8CC1E93FC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52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9CDF53-BF51-4C57-BA76-862A9FD56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4468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CDF53-BF51-4C57-BA76-862A9FD56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BA6674AB-3D43-4CF9-BC46-ABDCDE31DD9F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26A57B-8DDF-4777-9C83-C220F0E3918F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clock&#10;&#10;Description automatically generated">
            <a:extLst>
              <a:ext uri="{FF2B5EF4-FFF2-40B4-BE49-F238E27FC236}">
                <a16:creationId xmlns:a16="http://schemas.microsoft.com/office/drawing/2014/main" id="{5B3604B0-5300-4058-A697-E1608F36E5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61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B038C6-1F61-4E85-A548-BD04BDE75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9272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038C6-1F61-4E85-A548-BD04BDE75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2668041"/>
            <a:ext cx="8201025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471488" y="1428131"/>
            <a:ext cx="71075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D71B1E2E-A2E4-429B-BFCF-BE3B5870F80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019081-F039-4CD5-A839-B6F7976BEA7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clock&#10;&#10;Description automatically generated">
            <a:extLst>
              <a:ext uri="{FF2B5EF4-FFF2-40B4-BE49-F238E27FC236}">
                <a16:creationId xmlns:a16="http://schemas.microsoft.com/office/drawing/2014/main" id="{53E24EA9-913A-4247-B05E-F892328BC6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0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BFB33B-5A10-4E34-8A62-A506B5947A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7351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BFB33B-5A10-4E34-8A62-A506B5947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1488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96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265477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39FEB5BC-ED68-4E74-BC50-95E58A7689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1" name="Copyright">
            <a:extLst>
              <a:ext uri="{FF2B5EF4-FFF2-40B4-BE49-F238E27FC236}">
                <a16:creationId xmlns:a16="http://schemas.microsoft.com/office/drawing/2014/main" id="{F09169E8-8DEE-4B9C-B378-A780016BE6C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F7E71D-1C06-44E2-BEAB-E9B0D8F0812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3258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BFCB526-01A6-4758-8194-45A3AB121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248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CB526-01A6-4758-8194-45A3AB121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199900" cy="2492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6F0B7ADB-CB7E-4C88-BFB4-72FEC841AA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0" name="Copyright">
            <a:extLst>
              <a:ext uri="{FF2B5EF4-FFF2-40B4-BE49-F238E27FC236}">
                <a16:creationId xmlns:a16="http://schemas.microsoft.com/office/drawing/2014/main" id="{FB780D6F-9FAE-41BF-B809-61320C3E352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1CB9EC-D92E-4359-AEAE-A47FB53CF39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5690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722A73-1681-4FF8-81B4-AFD7234FC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35636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22A73-1681-4FF8-81B4-AFD7234FC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821622"/>
            <a:ext cx="2194560" cy="12743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F352B8A1-87F8-49A7-826F-28739137CE2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87C1EA-A72E-461B-9971-4E79A264C20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3027ABE8-19F4-4202-999B-B02E2E492C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01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8B1231-F74F-4BE7-9AE6-5B33DC3EA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16822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8B1231-F74F-4BE7-9AE6-5B33DC3EA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6CBAD190-C195-4D75-8DCC-7BCD4AA8623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A3BC4F-1AD2-4DCE-8D4F-435C3E44436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10CB0939-2939-4F2D-A0CC-61E1D7B33C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6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8B6117-2238-43B0-B25C-3528DEA850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37372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B6117-2238-43B0-B25C-3528DEA85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34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B64E423-2BDA-4DD4-B1D5-4CBF40F3C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48807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4E423-2BDA-4DD4-B1D5-4CBF40F3C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74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06147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AED2B23-D52E-4891-AD50-194576C0DE63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1D7C225-4809-4651-8731-6DBA0089BE8D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3317FBB5-2C3C-40E7-832D-24C4A00C08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17597" y="2352955"/>
            <a:ext cx="4108811" cy="1453457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94BB9847-FC4F-4E22-B37F-ABD0DADB2D5E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10955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675F7C-8402-4FE3-9DA9-B7E3D6D0A9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9540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675F7C-8402-4FE3-9DA9-B7E3D6D0A9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FB8F23F-3F0F-4111-A03C-C598005CBF97}"/>
              </a:ext>
            </a:extLst>
          </p:cNvPr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038D210-2A1C-4EBC-B952-EF4519B0CD9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22801 h 6858000"/>
                <a:gd name="connsiteX2" fmla="*/ 628650 w 12193200"/>
                <a:gd name="connsiteY2" fmla="*/ 622801 h 6858000"/>
                <a:gd name="connsiteX3" fmla="*/ 628650 w 12193200"/>
                <a:gd name="connsiteY3" fmla="*/ 6442949 h 6858000"/>
                <a:gd name="connsiteX4" fmla="*/ 11563350 w 12193200"/>
                <a:gd name="connsiteY4" fmla="*/ 6442949 h 6858000"/>
                <a:gd name="connsiteX5" fmla="*/ 11563350 w 12193200"/>
                <a:gd name="connsiteY5" fmla="*/ 622801 h 6858000"/>
                <a:gd name="connsiteX6" fmla="*/ 11562000 w 12193200"/>
                <a:gd name="connsiteY6" fmla="*/ 62280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22801"/>
                  </a:lnTo>
                  <a:lnTo>
                    <a:pt x="628650" y="622801"/>
                  </a:lnTo>
                  <a:lnTo>
                    <a:pt x="628650" y="6442949"/>
                  </a:lnTo>
                  <a:lnTo>
                    <a:pt x="11563350" y="6442949"/>
                  </a:lnTo>
                  <a:lnTo>
                    <a:pt x="11563350" y="622801"/>
                  </a:lnTo>
                  <a:lnTo>
                    <a:pt x="11562000" y="62280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1251B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ACC4D06E-7DF5-41F3-9C75-F6816BBE1303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0B285E0-449E-494A-A8FF-3E45D097BD39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9093EA1-7F97-476F-B1D6-451289C72DA8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F03B404-9742-478B-8333-38073773FDFE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DD0DB2E-CEF3-47E1-9224-506199D4FF07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E4A6518-02C6-4AA6-B803-AF8AAD5FC198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7A205C0-3017-4F33-B27C-A266CA18BE46}"/>
                </a:ext>
              </a:extLst>
            </p:cNvPr>
            <p:cNvCxnSpPr/>
            <p:nvPr/>
          </p:nvCxnSpPr>
          <p:spPr>
            <a:xfrm>
              <a:off x="-600" y="23630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4DAF5-BE90-4DC8-B6AC-4B562271F09E}"/>
                </a:ext>
              </a:extLst>
            </p:cNvPr>
            <p:cNvCxnSpPr/>
            <p:nvPr/>
          </p:nvCxnSpPr>
          <p:spPr>
            <a:xfrm>
              <a:off x="-600" y="26449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E24C659-F10E-4954-AFA7-FA4BF1100F49}"/>
                </a:ext>
              </a:extLst>
            </p:cNvPr>
            <p:cNvCxnSpPr/>
            <p:nvPr/>
          </p:nvCxnSpPr>
          <p:spPr>
            <a:xfrm>
              <a:off x="-600" y="292683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8B2935D-4C73-40A1-BA90-554F0E738C51}"/>
                </a:ext>
              </a:extLst>
            </p:cNvPr>
            <p:cNvCxnSpPr/>
            <p:nvPr/>
          </p:nvCxnSpPr>
          <p:spPr>
            <a:xfrm>
              <a:off x="-600" y="320870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F2BD5B5-0E7E-4AD2-8D45-2545DBBEDA93}"/>
                </a:ext>
              </a:extLst>
            </p:cNvPr>
            <p:cNvCxnSpPr/>
            <p:nvPr/>
          </p:nvCxnSpPr>
          <p:spPr>
            <a:xfrm>
              <a:off x="-600" y="34905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3320037-5F1F-42E2-9D00-219211D03E5A}"/>
                </a:ext>
              </a:extLst>
            </p:cNvPr>
            <p:cNvCxnSpPr/>
            <p:nvPr/>
          </p:nvCxnSpPr>
          <p:spPr>
            <a:xfrm>
              <a:off x="-600" y="377245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E96BB16-39BD-4814-B4FD-32EC0154FFEE}"/>
                </a:ext>
              </a:extLst>
            </p:cNvPr>
            <p:cNvCxnSpPr/>
            <p:nvPr/>
          </p:nvCxnSpPr>
          <p:spPr>
            <a:xfrm>
              <a:off x="-600" y="405433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15A640E-661E-4641-ADBE-CEEC07337D55}"/>
                </a:ext>
              </a:extLst>
            </p:cNvPr>
            <p:cNvCxnSpPr/>
            <p:nvPr/>
          </p:nvCxnSpPr>
          <p:spPr>
            <a:xfrm>
              <a:off x="-600" y="433620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9103E680-0CC4-493E-8D13-D6DEE69D1E48}"/>
                </a:ext>
              </a:extLst>
            </p:cNvPr>
            <p:cNvCxnSpPr/>
            <p:nvPr/>
          </p:nvCxnSpPr>
          <p:spPr>
            <a:xfrm>
              <a:off x="-600" y="46180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1DA8684-521B-4906-88DD-DD65DD2FD9FF}"/>
                </a:ext>
              </a:extLst>
            </p:cNvPr>
            <p:cNvCxnSpPr/>
            <p:nvPr/>
          </p:nvCxnSpPr>
          <p:spPr>
            <a:xfrm>
              <a:off x="-600" y="489995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4F0B14C-5532-437B-AE6B-F2DC5494B4C1}"/>
                </a:ext>
              </a:extLst>
            </p:cNvPr>
            <p:cNvCxnSpPr/>
            <p:nvPr/>
          </p:nvCxnSpPr>
          <p:spPr>
            <a:xfrm>
              <a:off x="-600" y="51818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5CDE833-C0F8-49AD-9C15-6B76B3D8D20C}"/>
                </a:ext>
              </a:extLst>
            </p:cNvPr>
            <p:cNvCxnSpPr/>
            <p:nvPr/>
          </p:nvCxnSpPr>
          <p:spPr>
            <a:xfrm>
              <a:off x="-600" y="54637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58FE9B2-D6FE-4052-AB14-9F5800E63A2C}"/>
                </a:ext>
              </a:extLst>
            </p:cNvPr>
            <p:cNvCxnSpPr/>
            <p:nvPr/>
          </p:nvCxnSpPr>
          <p:spPr>
            <a:xfrm>
              <a:off x="-600" y="57455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3DBAB4A5-E2AD-4B87-86AC-7F57BD9FFFB6}"/>
                </a:ext>
              </a:extLst>
            </p:cNvPr>
            <p:cNvCxnSpPr/>
            <p:nvPr/>
          </p:nvCxnSpPr>
          <p:spPr>
            <a:xfrm>
              <a:off x="-600" y="60274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" name="Gutter space">
              <a:extLst>
                <a:ext uri="{FF2B5EF4-FFF2-40B4-BE49-F238E27FC236}">
                  <a16:creationId xmlns:a16="http://schemas.microsoft.com/office/drawing/2014/main" id="{892038C0-E609-404B-B090-09F3545B9E2E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4652"/>
              <a:chOff x="1277000" y="623550"/>
              <a:chExt cx="9638000" cy="5537047"/>
            </a:xfrm>
          </p:grpSpPr>
          <p:sp>
            <p:nvSpPr>
              <p:cNvPr id="84" name="Rectangle 34">
                <a:extLst>
                  <a:ext uri="{FF2B5EF4-FFF2-40B4-BE49-F238E27FC236}">
                    <a16:creationId xmlns:a16="http://schemas.microsoft.com/office/drawing/2014/main" id="{C7D63959-BE42-479A-9A19-186C7FA2BE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" name="Rectangle 35">
                <a:extLst>
                  <a:ext uri="{FF2B5EF4-FFF2-40B4-BE49-F238E27FC236}">
                    <a16:creationId xmlns:a16="http://schemas.microsoft.com/office/drawing/2014/main" id="{B9DAB377-574A-434D-9B8F-B62F1F12B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" name="Rectangle 36">
                <a:extLst>
                  <a:ext uri="{FF2B5EF4-FFF2-40B4-BE49-F238E27FC236}">
                    <a16:creationId xmlns:a16="http://schemas.microsoft.com/office/drawing/2014/main" id="{A43B5FF4-D406-4E05-93D0-B6AFC0B79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7" name="Rectangle 37">
                <a:extLst>
                  <a:ext uri="{FF2B5EF4-FFF2-40B4-BE49-F238E27FC236}">
                    <a16:creationId xmlns:a16="http://schemas.microsoft.com/office/drawing/2014/main" id="{49D9FA57-854F-4236-9A79-DF32870D6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" name="Rectangle 38">
                <a:extLst>
                  <a:ext uri="{FF2B5EF4-FFF2-40B4-BE49-F238E27FC236}">
                    <a16:creationId xmlns:a16="http://schemas.microsoft.com/office/drawing/2014/main" id="{D7D46901-4D4B-4145-815F-D176739F66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" name="Rectangle 39">
                <a:extLst>
                  <a:ext uri="{FF2B5EF4-FFF2-40B4-BE49-F238E27FC236}">
                    <a16:creationId xmlns:a16="http://schemas.microsoft.com/office/drawing/2014/main" id="{B3912C0F-1E88-4825-9CD4-8801D2876C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" name="Rectangle 40">
                <a:extLst>
                  <a:ext uri="{FF2B5EF4-FFF2-40B4-BE49-F238E27FC236}">
                    <a16:creationId xmlns:a16="http://schemas.microsoft.com/office/drawing/2014/main" id="{06454163-A7CF-4D60-92CC-ADC6D20571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" name="Rectangle 41">
                <a:extLst>
                  <a:ext uri="{FF2B5EF4-FFF2-40B4-BE49-F238E27FC236}">
                    <a16:creationId xmlns:a16="http://schemas.microsoft.com/office/drawing/2014/main" id="{3259DCEF-EE24-4BF6-923D-ED79FAF18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" name="Rectangle 42">
                <a:extLst>
                  <a:ext uri="{FF2B5EF4-FFF2-40B4-BE49-F238E27FC236}">
                    <a16:creationId xmlns:a16="http://schemas.microsoft.com/office/drawing/2014/main" id="{48D3B193-52FA-4F4E-83DA-A1D22A15C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" name="Rectangle 43">
                <a:extLst>
                  <a:ext uri="{FF2B5EF4-FFF2-40B4-BE49-F238E27FC236}">
                    <a16:creationId xmlns:a16="http://schemas.microsoft.com/office/drawing/2014/main" id="{A8038870-54BF-4E4C-91DC-10C238497B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" name="Rectangle 44">
                <a:extLst>
                  <a:ext uri="{FF2B5EF4-FFF2-40B4-BE49-F238E27FC236}">
                    <a16:creationId xmlns:a16="http://schemas.microsoft.com/office/drawing/2014/main" id="{4AD96902-B04F-48C1-9379-C4F0BEBB9D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73" name="Slide edges">
              <a:extLst>
                <a:ext uri="{FF2B5EF4-FFF2-40B4-BE49-F238E27FC236}">
                  <a16:creationId xmlns:a16="http://schemas.microsoft.com/office/drawing/2014/main" id="{2C4B923F-34A0-4E27-84A9-D295A1328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Footnote measure">
              <a:extLst>
                <a:ext uri="{FF2B5EF4-FFF2-40B4-BE49-F238E27FC236}">
                  <a16:creationId xmlns:a16="http://schemas.microsoft.com/office/drawing/2014/main" id="{0CFA4B13-A820-4F12-80B0-5527587B4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27452"/>
              <a:ext cx="10934700" cy="41549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Whitespace measure">
              <a:extLst>
                <a:ext uri="{FF2B5EF4-FFF2-40B4-BE49-F238E27FC236}">
                  <a16:creationId xmlns:a16="http://schemas.microsoft.com/office/drawing/2014/main" id="{C7B08E65-8DA9-4767-B076-6280963C6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563644"/>
              <a:ext cx="10934700" cy="517569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76" name="Five column measure">
              <a:extLst>
                <a:ext uri="{FF2B5EF4-FFF2-40B4-BE49-F238E27FC236}">
                  <a16:creationId xmlns:a16="http://schemas.microsoft.com/office/drawing/2014/main" id="{8EA9FEAD-86D7-4495-8679-BF3C8B7C127E}"/>
                </a:ext>
              </a:extLst>
            </p:cNvPr>
            <p:cNvGrpSpPr/>
            <p:nvPr/>
          </p:nvGrpSpPr>
          <p:grpSpPr>
            <a:xfrm>
              <a:off x="629400" y="5846746"/>
              <a:ext cx="10933200" cy="79536"/>
              <a:chOff x="629400" y="5975122"/>
              <a:chExt cx="10933200" cy="79536"/>
            </a:xfrm>
          </p:grpSpPr>
          <p:sp>
            <p:nvSpPr>
              <p:cNvPr id="79" name="Rectangle 5">
                <a:extLst>
                  <a:ext uri="{FF2B5EF4-FFF2-40B4-BE49-F238E27FC236}">
                    <a16:creationId xmlns:a16="http://schemas.microsoft.com/office/drawing/2014/main" id="{7230BCA7-9650-4381-B1FA-AE5AFD3872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" name="Rectangle 7">
                <a:extLst>
                  <a:ext uri="{FF2B5EF4-FFF2-40B4-BE49-F238E27FC236}">
                    <a16:creationId xmlns:a16="http://schemas.microsoft.com/office/drawing/2014/main" id="{E65E217C-F50E-4901-864C-CEBD9C1E6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" name="Rectangle 9">
                <a:extLst>
                  <a:ext uri="{FF2B5EF4-FFF2-40B4-BE49-F238E27FC236}">
                    <a16:creationId xmlns:a16="http://schemas.microsoft.com/office/drawing/2014/main" id="{F45A0167-E152-4156-9759-72E36945C2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" name="Rectangle 11">
                <a:extLst>
                  <a:ext uri="{FF2B5EF4-FFF2-40B4-BE49-F238E27FC236}">
                    <a16:creationId xmlns:a16="http://schemas.microsoft.com/office/drawing/2014/main" id="{6F93B27B-B4A9-479E-AA73-6446F360F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" name="Rectangle 13">
                <a:extLst>
                  <a:ext uri="{FF2B5EF4-FFF2-40B4-BE49-F238E27FC236}">
                    <a16:creationId xmlns:a16="http://schemas.microsoft.com/office/drawing/2014/main" id="{E6F953BB-5B5E-4A13-98D4-2B62B82C82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77" name="Live area">
              <a:extLst>
                <a:ext uri="{FF2B5EF4-FFF2-40B4-BE49-F238E27FC236}">
                  <a16:creationId xmlns:a16="http://schemas.microsoft.com/office/drawing/2014/main" id="{69E9EC94-A8DA-4F27-9A0F-0276232E659B}"/>
                </a:ext>
              </a:extLst>
            </p:cNvPr>
            <p:cNvSpPr/>
            <p:nvPr/>
          </p:nvSpPr>
          <p:spPr>
            <a:xfrm>
              <a:off x="628650" y="2081213"/>
              <a:ext cx="10934700" cy="394623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1251B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78" name="Footnote example">
              <a:extLst>
                <a:ext uri="{FF2B5EF4-FFF2-40B4-BE49-F238E27FC236}">
                  <a16:creationId xmlns:a16="http://schemas.microsoft.com/office/drawing/2014/main" id="{E1EAB825-D6CC-43CC-8FCE-FCD72F1EC330}"/>
                </a:ext>
              </a:extLst>
            </p:cNvPr>
            <p:cNvSpPr txBox="1"/>
            <p:nvPr/>
          </p:nvSpPr>
          <p:spPr>
            <a:xfrm>
              <a:off x="630000" y="6131325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666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43394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907198"/>
            <a:ext cx="25866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721014" y="1115416"/>
            <a:ext cx="2089033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5FBBB008-C15F-4385-8AF2-26220C76E17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11AD04-71D5-4EB4-B720-07195090C70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A76BF9D1-0441-4EF3-AA22-EBF87B98FD1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93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8F04BC-ED97-48AC-8DDB-98EE63ECC0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00336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F04BC-ED97-48AC-8DDB-98EE63ECC0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3826800"/>
            <a:ext cx="8201025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71488" y="3680016"/>
            <a:ext cx="86749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pyright">
            <a:extLst>
              <a:ext uri="{FF2B5EF4-FFF2-40B4-BE49-F238E27FC236}">
                <a16:creationId xmlns:a16="http://schemas.microsoft.com/office/drawing/2014/main" id="{3BFF703C-2F6E-43B8-8831-948029A73FE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E381DF-0FCD-439F-8A15-6B32C4EB0E8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69814CA5-6831-43E0-B74B-BC5B93C744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155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8976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33FDC979-F38A-4F7D-BAA7-C4F8B4C76C0C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EBB948-A68D-468D-8B21-C19D148E1C0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3850DD30-3641-4796-8A5B-8EEC03E005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437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24362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6228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>
            <a:extLst>
              <a:ext uri="{FF2B5EF4-FFF2-40B4-BE49-F238E27FC236}">
                <a16:creationId xmlns:a16="http://schemas.microsoft.com/office/drawing/2014/main" id="{E0970931-4CD1-4C69-A4A9-1371AB960D7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4BF8D4-44C0-4538-92BF-226DEAF4A56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51531E32-DBAB-48F6-89A9-165B9656301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392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45689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499" y="3193865"/>
            <a:ext cx="1234440" cy="3531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5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CFFA9FE2-BD76-4A74-B8EC-2E9D8A30F0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4E65185A-E651-435F-8CF2-F0C6244D178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8416C-A0B6-40E3-9AD9-39F99FB20E2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410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73291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907197"/>
            <a:ext cx="25866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721014" y="1115416"/>
            <a:ext cx="2089033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1271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84604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00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34104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6228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08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05264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3262146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E5728CF6-189C-491E-9966-476AC1F8DC3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200573E5-B53C-4CD5-AE07-1CCB97E8C50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EFCFD1-AE3C-4C8F-B636-488D2B814E0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9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6921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821622"/>
            <a:ext cx="2194560" cy="12743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69D471D5-F433-407A-8F8D-98ADBBA1B7A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FC51D-9E30-459F-8B2E-14C555FC023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40EC5865-6DF7-4582-80C5-63C5CB854C3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85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ur 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954546F-7B12-BC44-BC3C-9597E217B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8921" y="440986"/>
            <a:ext cx="3823238" cy="1325563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B03C80-E95F-6446-BA3A-3B9DD0B808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08921" y="1766551"/>
            <a:ext cx="3823238" cy="3821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9D180B-F656-FCC5-C160-9CA376A5C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r="37163"/>
          <a:stretch/>
        </p:blipFill>
        <p:spPr>
          <a:xfrm>
            <a:off x="0" y="251326"/>
            <a:ext cx="4640580" cy="657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01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5531B03-5991-4204-BB1E-CC0C0CA1F3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441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531B03-5991-4204-BB1E-CC0C0CA1F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AB197D13-6F4B-42B0-B993-9E96140DA94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1B5FAB-A5FE-494F-A130-E66B908223B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999973C6-E560-49B2-A043-73D01E580C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789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337CB5-24FB-487D-A96E-12533329D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4601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337CB5-24FB-487D-A96E-12533329D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029E0473-D80F-4456-A93F-EA85F4E38BC6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20EAFE-E6CD-4F91-B634-F2FE99DE0DB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5039122F-8B7E-4E40-8445-C59039A203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979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D6A898-3CB7-4391-AAB0-B6608464F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27233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D6A898-3CB7-4391-AAB0-B6608464F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435BDFD7-4481-4D60-AE3D-4603DB178D3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602685F5-9555-495E-BFCC-3DB7BDBEE8E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4FB22A-7FE6-4747-980B-2AB32CAAD33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481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67270626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622801"/>
            <a:ext cx="8199900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2081214"/>
            <a:ext cx="8199900" cy="3946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4763A8-1A34-4D6D-B77C-B87C88850B7F}"/>
              </a:ext>
            </a:extLst>
          </p:cNvPr>
          <p:cNvSpPr/>
          <p:nvPr userDrawn="1"/>
        </p:nvSpPr>
        <p:spPr>
          <a:xfrm>
            <a:off x="0" y="1"/>
            <a:ext cx="9144000" cy="247805"/>
          </a:xfrm>
          <a:prstGeom prst="rect">
            <a:avLst/>
          </a:prstGeom>
          <a:solidFill>
            <a:srgbClr val="38C6F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4B255341-AAC2-44F3-9E1E-2F4ADFFB571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901BFE-239D-44BC-BC22-DF5B7043F4D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3128625E-DB89-4386-8661-E0AFEA2568CF}"/>
              </a:ext>
            </a:extLst>
          </p:cNvPr>
          <p:cNvPicPr>
            <a:picLocks noChangeAspect="1"/>
          </p:cNvPicPr>
          <p:nvPr userDrawn="1"/>
        </p:nvPicPr>
        <p:blipFill>
          <a:blip r:embed="rId73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78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00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185166" indent="-123444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•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63474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–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1200" b="1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12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185166" indent="-123444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rgbClr val="38C6F3"/>
        </a:buClr>
        <a:buFont typeface="Arial" panose="020B0604020202020204" pitchFamily="34" charset="0"/>
        <a:buChar char="•"/>
        <a:defRPr lang="en-US" sz="12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Clr>
          <a:srgbClr val="38C6F3"/>
        </a:buClr>
        <a:buFont typeface="Arial" panose="020B0604020202020204" pitchFamily="34" charset="0"/>
        <a:buChar char="​"/>
        <a:defRPr lang="en-US" sz="33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Clr>
          <a:srgbClr val="38C6F3"/>
        </a:buClr>
        <a:buFont typeface="Arial" panose="020B0604020202020204" pitchFamily="34" charset="0"/>
        <a:buChar char="​"/>
        <a:defRPr lang="en-US" sz="4050" b="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rgbClr val="38C6F3"/>
        </a:buClr>
        <a:buFont typeface="Arial" panose="020B0604020202020204" pitchFamily="34" charset="0"/>
        <a:buChar char="​"/>
        <a:defRPr lang="en-US" sz="1800" b="1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VeerannaGoud/Streams.git" TargetMode="External"/><Relationship Id="rId3" Type="http://schemas.openxmlformats.org/officeDocument/2006/relationships/oleObject" Target="../embeddings/oleObject69.bin"/><Relationship Id="rId7" Type="http://schemas.openxmlformats.org/officeDocument/2006/relationships/hyperlink" Target="NUL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6" Type="http://schemas.openxmlformats.org/officeDocument/2006/relationships/hyperlink" Target="NULL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6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7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8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9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0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1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3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4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5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6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7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2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6" Type="http://schemas.openxmlformats.org/officeDocument/2006/relationships/hyperlink" Target="http://www.codejava.net/java-core/collections/java-8-stream-terminal-operations-examples#max" TargetMode="Externa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DD74676-F1FF-F18F-B0F7-BCE8FA88EB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D74676-F1FF-F18F-B0F7-BCE8FA88E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65FF54F-F5D4-E59E-7221-566F660768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68B4745-B863-B59F-5B9A-A631D8C2179C}"/>
              </a:ext>
            </a:extLst>
          </p:cNvPr>
          <p:cNvSpPr txBox="1"/>
          <p:nvPr/>
        </p:nvSpPr>
        <p:spPr>
          <a:xfrm>
            <a:off x="1319756" y="478040"/>
            <a:ext cx="5769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/>
              <a:t>Day 3 STREAMS</a:t>
            </a:r>
            <a:endParaRPr lang="en-IN" sz="1100" b="1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DA372E9-9E13-6FB6-26DC-D2B451D96472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3C5CF33-B63D-E46C-4E3F-03731976C6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1187A8D-3986-EED6-F5E3-BADA623053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9C39E554-2599-7B2F-65A6-B5E933BD11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785484C-AF2F-C0FB-79E0-5DBBF0A768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35F1DBC-5E0C-A7DE-9D4A-0FE99EDD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3EA4606-F82E-ECD5-762C-E1EBD09EB403}"/>
              </a:ext>
            </a:extLst>
          </p:cNvPr>
          <p:cNvSpPr txBox="1"/>
          <p:nvPr/>
        </p:nvSpPr>
        <p:spPr>
          <a:xfrm>
            <a:off x="1219200" y="1317131"/>
            <a:ext cx="6046405" cy="452431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t">
            <a:spAutoFit/>
          </a:bodyPr>
          <a:lstStyle/>
          <a:p>
            <a:br>
              <a:rPr lang="en-US" b="1" i="1">
                <a:hlinkClick r:id="rId6" invalidUrl="http://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b="1" i="1">
                <a:hlinkClick r:id="rId7" invalidUrl="http://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lumen.percipio.com/courses/f10c7fab-3c97-4d14-8c61-c1ab7cb82180/videos/d7b91d48-2d34-4d2d-b737-5ce6f2fb2c1d</a:t>
            </a: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 code link:</a:t>
            </a:r>
            <a:br>
              <a:rPr lang="en-US" b="1" i="1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endParaRPr lang="en-US" b="1" i="1">
              <a:solidFill>
                <a:schemeClr val="accent2">
                  <a:lumMod val="75000"/>
                </a:schemeClr>
              </a:solidFill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>
                <a:solidFill>
                  <a:schemeClr val="accent2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VeerannaGoud/Streams.git</a:t>
            </a:r>
            <a:br>
              <a:rPr lang="en-US">
                <a:solidFill>
                  <a:schemeClr val="accent2">
                    <a:lumMod val="75000"/>
                  </a:schemeClr>
                </a:solidFill>
              </a:rPr>
            </a:br>
            <a:br>
              <a:rPr lang="en-US">
                <a:solidFill>
                  <a:schemeClr val="accent2">
                    <a:lumMod val="75000"/>
                  </a:schemeClr>
                </a:solidFill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cs typeface="Arial"/>
              </a:rPr>
              <a:t>By </a:t>
            </a:r>
            <a:br>
              <a:rPr lang="en-US">
                <a:solidFill>
                  <a:schemeClr val="accent2">
                    <a:lumMod val="75000"/>
                  </a:schemeClr>
                </a:solidFill>
                <a:cs typeface="Arial"/>
              </a:rPr>
            </a:br>
            <a:r>
              <a:rPr lang="en-US">
                <a:solidFill>
                  <a:schemeClr val="accent2">
                    <a:lumMod val="75000"/>
                  </a:schemeClr>
                </a:solidFill>
                <a:cs typeface="Arial"/>
              </a:rPr>
              <a:t>Veeranna Goud</a:t>
            </a:r>
            <a:endParaRPr lang="te-IN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5B582C-4251-954F-5C7D-68032AB45907}"/>
              </a:ext>
            </a:extLst>
          </p:cNvPr>
          <p:cNvSpPr txBox="1"/>
          <p:nvPr/>
        </p:nvSpPr>
        <p:spPr>
          <a:xfrm>
            <a:off x="457200" y="939705"/>
            <a:ext cx="862556" cy="61520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te-IN" sz="120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4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Types of Intermediate Operation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7" y="1243263"/>
            <a:ext cx="6950754" cy="4608855"/>
          </a:xfrm>
        </p:spPr>
        <p:txBody>
          <a:bodyPr/>
          <a:lstStyle/>
          <a:p>
            <a:r>
              <a:rPr lang="en-US" altLang="en-US" sz="2000">
                <a:latin typeface="inter-regular"/>
              </a:rPr>
              <a:t>Intermediate operations can be classified into Stateful and Stateless</a:t>
            </a:r>
          </a:p>
          <a:p>
            <a:pPr lvl="1"/>
            <a:endParaRPr lang="en-US" altLang="en-US" sz="2000">
              <a:latin typeface="inter-regular"/>
            </a:endParaRPr>
          </a:p>
          <a:p>
            <a:pPr>
              <a:lnSpc>
                <a:spcPct val="150000"/>
              </a:lnSpc>
            </a:pPr>
            <a:r>
              <a:rPr lang="en-US" altLang="en-US" sz="2000" b="1">
                <a:latin typeface="inter-regular"/>
              </a:rPr>
              <a:t>Stateful Operations 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Operations which maintain information from a previous invocation internally 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It can be used again in a future invocation of the method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State storage can become huge for instances of infinite streams 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Can potentially affect performance of the whole system. </a:t>
            </a:r>
          </a:p>
          <a:p>
            <a:pPr lvl="1"/>
            <a:endParaRPr lang="en-US" altLang="en-US" sz="2000">
              <a:latin typeface="inter-regular"/>
            </a:endParaRPr>
          </a:p>
          <a:p>
            <a:pPr lvl="1"/>
            <a:r>
              <a:rPr lang="en-US" altLang="en-US" sz="2000" b="1">
                <a:latin typeface="inter-regular"/>
              </a:rPr>
              <a:t>Example : distinct() , sorted()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206121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Stateless Intermediate Operations: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7" y="1243263"/>
            <a:ext cx="6950754" cy="4608855"/>
          </a:xfrm>
        </p:spPr>
        <p:txBody>
          <a:bodyPr/>
          <a:lstStyle/>
          <a:p>
            <a:pPr lvl="1">
              <a:lnSpc>
                <a:spcPct val="200000"/>
              </a:lnSpc>
            </a:pPr>
            <a:r>
              <a:rPr lang="en-US" altLang="en-US" sz="2000">
                <a:latin typeface="inter-regular"/>
              </a:rPr>
              <a:t>Operations do not store any state across passes. </a:t>
            </a:r>
          </a:p>
          <a:p>
            <a:pPr lvl="1">
              <a:lnSpc>
                <a:spcPct val="200000"/>
              </a:lnSpc>
            </a:pPr>
            <a:r>
              <a:rPr lang="en-US" altLang="en-US" sz="2000">
                <a:latin typeface="inter-regular"/>
              </a:rPr>
              <a:t>Improves the performance of these operations</a:t>
            </a:r>
          </a:p>
          <a:p>
            <a:pPr lvl="1">
              <a:lnSpc>
                <a:spcPct val="200000"/>
              </a:lnSpc>
            </a:pPr>
            <a:r>
              <a:rPr lang="en-US" altLang="en-US" sz="2000">
                <a:latin typeface="inter-regular"/>
              </a:rPr>
              <a:t>Stream operation can be in parallel </a:t>
            </a:r>
          </a:p>
          <a:p>
            <a:pPr lvl="2">
              <a:lnSpc>
                <a:spcPct val="200000"/>
              </a:lnSpc>
            </a:pPr>
            <a:r>
              <a:rPr lang="en-US" altLang="en-US" sz="1800">
                <a:latin typeface="inter-regular"/>
              </a:rPr>
              <a:t>No information to shared, no need for order</a:t>
            </a:r>
          </a:p>
          <a:p>
            <a:pPr lvl="1">
              <a:lnSpc>
                <a:spcPct val="200000"/>
              </a:lnSpc>
            </a:pPr>
            <a:r>
              <a:rPr lang="en-US" altLang="en-US" sz="2000" b="1">
                <a:latin typeface="inter-regular"/>
              </a:rPr>
              <a:t>Example : filter(), map(), </a:t>
            </a:r>
            <a:r>
              <a:rPr lang="en-US" altLang="en-US" sz="2000" b="1" err="1">
                <a:latin typeface="inter-regular"/>
              </a:rPr>
              <a:t>findAny</a:t>
            </a:r>
            <a:r>
              <a:rPr lang="en-US" altLang="en-US" sz="2000" b="1">
                <a:latin typeface="inter-regular"/>
              </a:rPr>
              <a:t>()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132814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sz="2800"/>
              <a:t>Filter()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7" y="1243263"/>
            <a:ext cx="6950754" cy="4608855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sz="2000">
                <a:latin typeface="inter-regular"/>
              </a:rPr>
              <a:t>Takes predicate as an argument </a:t>
            </a:r>
          </a:p>
          <a:p>
            <a:pPr>
              <a:lnSpc>
                <a:spcPct val="150000"/>
              </a:lnSpc>
              <a:defRPr/>
            </a:pPr>
            <a:r>
              <a:rPr lang="en-US" sz="2000">
                <a:latin typeface="inter-regular"/>
              </a:rPr>
              <a:t>Applies to the whole stream and returns a filtered stream 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>
                <a:latin typeface="inter-regular"/>
              </a:rPr>
              <a:t>Containing elements which match the Predicate.</a:t>
            </a:r>
            <a:r>
              <a:rPr lang="en-US" sz="400">
                <a:latin typeface="inter-regular"/>
              </a:rPr>
              <a:t> </a:t>
            </a:r>
          </a:p>
          <a:p>
            <a:pPr>
              <a:buFontTx/>
              <a:buNone/>
              <a:defRPr/>
            </a:pPr>
            <a:r>
              <a:rPr lang="en-US" sz="2000">
                <a:latin typeface="inter-regular"/>
              </a:rPr>
              <a:t> </a:t>
            </a:r>
          </a:p>
          <a:p>
            <a:pPr lvl="1">
              <a:buFontTx/>
              <a:buNone/>
              <a:defRPr/>
            </a:pPr>
            <a:r>
              <a:rPr lang="en-US" sz="2000">
                <a:latin typeface="inter-regular"/>
              </a:rPr>
              <a:t> List&lt;Customer&gt; </a:t>
            </a:r>
            <a:r>
              <a:rPr lang="en-US" sz="2000" err="1">
                <a:latin typeface="inter-regular"/>
              </a:rPr>
              <a:t>filteredList</a:t>
            </a:r>
            <a:r>
              <a:rPr lang="en-US" sz="2000">
                <a:latin typeface="inter-regular"/>
              </a:rPr>
              <a:t>= </a:t>
            </a:r>
            <a:r>
              <a:rPr lang="en-US" sz="2000" err="1">
                <a:latin typeface="inter-regular"/>
              </a:rPr>
              <a:t>customerList.stream</a:t>
            </a:r>
            <a:r>
              <a:rPr lang="en-US" sz="2000">
                <a:latin typeface="inter-regular"/>
              </a:rPr>
              <a:t>().filter((Customer </a:t>
            </a:r>
            <a:r>
              <a:rPr lang="en-US" sz="2000" err="1">
                <a:latin typeface="inter-regular"/>
              </a:rPr>
              <a:t>cust</a:t>
            </a:r>
            <a:r>
              <a:rPr lang="en-US" sz="2000">
                <a:latin typeface="inter-regular"/>
              </a:rPr>
              <a:t> ) -&gt; </a:t>
            </a:r>
            <a:r>
              <a:rPr lang="en-US" sz="2000" err="1">
                <a:latin typeface="inter-regular"/>
              </a:rPr>
              <a:t>cust.getCustomerId</a:t>
            </a:r>
            <a:r>
              <a:rPr lang="en-US" sz="2000">
                <a:latin typeface="inter-regular"/>
              </a:rPr>
              <a:t>() &gt;200).collect(</a:t>
            </a:r>
            <a:r>
              <a:rPr lang="en-US" sz="2000" i="1" err="1">
                <a:latin typeface="inter-regular"/>
              </a:rPr>
              <a:t>toList</a:t>
            </a:r>
            <a:r>
              <a:rPr lang="en-US" sz="2000" i="1">
                <a:latin typeface="inter-regular"/>
              </a:rPr>
              <a:t>());</a:t>
            </a:r>
          </a:p>
          <a:p>
            <a:pPr lvl="1">
              <a:buFontTx/>
              <a:buNone/>
              <a:defRPr/>
            </a:pPr>
            <a:r>
              <a:rPr lang="en-US" sz="2000">
                <a:latin typeface="inter-regular"/>
              </a:rPr>
              <a:t>   </a:t>
            </a:r>
          </a:p>
          <a:p>
            <a:pPr lvl="1">
              <a:buFontTx/>
              <a:buNone/>
              <a:defRPr/>
            </a:pPr>
            <a:r>
              <a:rPr lang="en-US" sz="2000">
                <a:latin typeface="inter-regular"/>
              </a:rPr>
              <a:t>   </a:t>
            </a:r>
            <a:r>
              <a:rPr lang="en-US" sz="2000" err="1">
                <a:latin typeface="inter-regular"/>
              </a:rPr>
              <a:t>System.</a:t>
            </a:r>
            <a:r>
              <a:rPr lang="en-US" sz="2000" b="1" i="1" err="1">
                <a:latin typeface="inter-regular"/>
              </a:rPr>
              <a:t>out.println</a:t>
            </a:r>
            <a:r>
              <a:rPr lang="en-US" sz="2000" b="1" i="1">
                <a:latin typeface="inter-regular"/>
              </a:rPr>
              <a:t>("After applying filter method");</a:t>
            </a:r>
          </a:p>
          <a:p>
            <a:pPr lvl="1">
              <a:buFontTx/>
              <a:buNone/>
              <a:defRPr/>
            </a:pPr>
            <a:r>
              <a:rPr lang="en-US" sz="2000">
                <a:latin typeface="inter-regular"/>
              </a:rPr>
              <a:t>   </a:t>
            </a:r>
            <a:r>
              <a:rPr lang="en-US" sz="2000" err="1">
                <a:latin typeface="inter-regular"/>
              </a:rPr>
              <a:t>filteredList.forEach</a:t>
            </a:r>
            <a:r>
              <a:rPr lang="en-US" sz="2000">
                <a:latin typeface="inter-regular"/>
              </a:rPr>
              <a:t>(</a:t>
            </a:r>
            <a:r>
              <a:rPr lang="en-US" sz="2000" err="1">
                <a:latin typeface="inter-regular"/>
              </a:rPr>
              <a:t>System.</a:t>
            </a:r>
            <a:r>
              <a:rPr lang="en-US" sz="2000" b="1" i="1" err="1">
                <a:latin typeface="inter-regular"/>
              </a:rPr>
              <a:t>out</a:t>
            </a:r>
            <a:r>
              <a:rPr lang="en-US" sz="2000" b="1" i="1">
                <a:latin typeface="inter-regular"/>
              </a:rPr>
              <a:t>::</a:t>
            </a:r>
            <a:r>
              <a:rPr lang="en-US" sz="2000" b="1" i="1" err="1">
                <a:latin typeface="inter-regular"/>
              </a:rPr>
              <a:t>println</a:t>
            </a:r>
            <a:r>
              <a:rPr lang="en-US" sz="2000" b="1" i="1">
                <a:latin typeface="inter-regular"/>
              </a:rPr>
              <a:t>);</a:t>
            </a:r>
            <a:endParaRPr lang="en-US" sz="2000"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206763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sz="2800"/>
              <a:t>Map()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>
              <a:defRPr/>
            </a:pPr>
            <a:r>
              <a:rPr lang="en-US" sz="2000">
                <a:latin typeface="inter-regular"/>
              </a:rPr>
              <a:t>Takes an instance of Function &lt;T, R&gt; as parameter</a:t>
            </a:r>
          </a:p>
          <a:p>
            <a:pPr>
              <a:defRPr/>
            </a:pPr>
            <a:endParaRPr lang="en-US" sz="2000">
              <a:latin typeface="inter-regular"/>
            </a:endParaRPr>
          </a:p>
          <a:p>
            <a:pPr>
              <a:defRPr/>
            </a:pPr>
            <a:r>
              <a:rPr lang="en-US" sz="2000">
                <a:latin typeface="inter-regular"/>
              </a:rPr>
              <a:t>Converts the type of elements in the stream from the current type T to the new type R.</a:t>
            </a:r>
          </a:p>
          <a:p>
            <a:pPr>
              <a:defRPr/>
            </a:pPr>
            <a:endParaRPr lang="en-US" sz="2000">
              <a:latin typeface="inter-regular"/>
            </a:endParaRPr>
          </a:p>
          <a:p>
            <a:pPr>
              <a:defRPr/>
            </a:pPr>
            <a:r>
              <a:rPr lang="en-US" sz="2000">
                <a:latin typeface="inter-regular"/>
              </a:rPr>
              <a:t>Returns as output a stream of type R or Stream&lt;R&gt;</a:t>
            </a:r>
          </a:p>
          <a:p>
            <a:pPr>
              <a:buFontTx/>
              <a:buNone/>
              <a:defRPr/>
            </a:pPr>
            <a:r>
              <a:rPr lang="en-US" sz="2000">
                <a:latin typeface="inter-regular"/>
              </a:rPr>
              <a:t> </a:t>
            </a:r>
          </a:p>
          <a:p>
            <a:pPr lvl="1">
              <a:buFontTx/>
              <a:buNone/>
              <a:defRPr/>
            </a:pPr>
            <a:endParaRPr lang="en-US" sz="2000">
              <a:latin typeface="inter-regular"/>
            </a:endParaRPr>
          </a:p>
          <a:p>
            <a:pPr lvl="1">
              <a:buFontTx/>
              <a:buNone/>
              <a:defRPr/>
            </a:pPr>
            <a:r>
              <a:rPr lang="en-US" sz="2000">
                <a:latin typeface="inter-regular"/>
              </a:rPr>
              <a:t>	List&lt;Customer&gt; </a:t>
            </a:r>
            <a:r>
              <a:rPr lang="en-US" sz="2000" err="1">
                <a:latin typeface="inter-regular"/>
              </a:rPr>
              <a:t>customerList</a:t>
            </a:r>
            <a:r>
              <a:rPr lang="en-US" sz="2000">
                <a:latin typeface="inter-regular"/>
              </a:rPr>
              <a:t> = 	</a:t>
            </a:r>
            <a:r>
              <a:rPr lang="en-US" sz="2000" err="1">
                <a:latin typeface="inter-regular"/>
              </a:rPr>
              <a:t>HandleCustomers.</a:t>
            </a:r>
            <a:r>
              <a:rPr lang="en-US" sz="2000" i="1" err="1">
                <a:latin typeface="inter-regular"/>
              </a:rPr>
              <a:t>getCustomers</a:t>
            </a:r>
            <a:r>
              <a:rPr lang="en-US" sz="2000" i="1">
                <a:latin typeface="inter-regular"/>
              </a:rPr>
              <a:t>();</a:t>
            </a:r>
          </a:p>
          <a:p>
            <a:pPr lvl="1">
              <a:buFontTx/>
              <a:buNone/>
              <a:defRPr/>
            </a:pPr>
            <a:endParaRPr lang="en-US" sz="2000">
              <a:latin typeface="inter-regular"/>
            </a:endParaRPr>
          </a:p>
          <a:p>
            <a:pPr lvl="1">
              <a:buFontTx/>
              <a:buNone/>
              <a:defRPr/>
            </a:pPr>
            <a:r>
              <a:rPr lang="en-US" sz="1800">
                <a:latin typeface="inter-regular"/>
              </a:rPr>
              <a:t>  List&lt;Long&gt; </a:t>
            </a:r>
            <a:r>
              <a:rPr lang="en-US" sz="1800" err="1">
                <a:latin typeface="inter-regular"/>
              </a:rPr>
              <a:t>phoneBook</a:t>
            </a:r>
            <a:r>
              <a:rPr lang="en-US" sz="1800">
                <a:latin typeface="inter-regular"/>
              </a:rPr>
              <a:t> = </a:t>
            </a:r>
            <a:r>
              <a:rPr lang="en-US" sz="1800" err="1">
                <a:latin typeface="inter-regular"/>
              </a:rPr>
              <a:t>customerList.stream</a:t>
            </a:r>
            <a:r>
              <a:rPr lang="en-US" sz="1800">
                <a:latin typeface="inter-regular"/>
              </a:rPr>
              <a:t>().</a:t>
            </a:r>
          </a:p>
          <a:p>
            <a:pPr lvl="1">
              <a:buFontTx/>
              <a:buNone/>
              <a:defRPr/>
            </a:pPr>
            <a:r>
              <a:rPr lang="en-US" sz="1800">
                <a:latin typeface="inter-regular"/>
              </a:rPr>
              <a:t>         map((</a:t>
            </a:r>
            <a:r>
              <a:rPr lang="en-US" sz="1800" err="1">
                <a:latin typeface="inter-regular"/>
              </a:rPr>
              <a:t>eachCust</a:t>
            </a:r>
            <a:r>
              <a:rPr lang="en-US" sz="1800">
                <a:latin typeface="inter-regular"/>
              </a:rPr>
              <a:t>)-&gt;</a:t>
            </a:r>
            <a:r>
              <a:rPr lang="en-US" sz="1800" err="1">
                <a:latin typeface="inter-regular"/>
              </a:rPr>
              <a:t>eachCust.getPhoneNumber</a:t>
            </a:r>
            <a:r>
              <a:rPr lang="en-US" sz="1800">
                <a:latin typeface="inter-regular"/>
              </a:rPr>
              <a:t>()).collect(</a:t>
            </a:r>
            <a:r>
              <a:rPr lang="en-US" sz="1800" i="1" err="1">
                <a:latin typeface="inter-regular"/>
              </a:rPr>
              <a:t>toList</a:t>
            </a:r>
            <a:r>
              <a:rPr lang="en-US" sz="1800" i="1">
                <a:latin typeface="inter-regular"/>
              </a:rPr>
              <a:t>());</a:t>
            </a:r>
          </a:p>
          <a:p>
            <a:pPr lvl="1">
              <a:buFontTx/>
              <a:buNone/>
              <a:defRPr/>
            </a:pPr>
            <a:r>
              <a:rPr lang="en-US" sz="1800">
                <a:latin typeface="inter-regular"/>
              </a:rPr>
              <a:t>  </a:t>
            </a:r>
          </a:p>
          <a:p>
            <a:pPr lvl="1">
              <a:buFontTx/>
              <a:buNone/>
              <a:defRPr/>
            </a:pPr>
            <a:r>
              <a:rPr lang="en-US" sz="1800">
                <a:latin typeface="inter-regular"/>
              </a:rPr>
              <a:t>         </a:t>
            </a:r>
            <a:r>
              <a:rPr lang="en-US" sz="1800" err="1">
                <a:latin typeface="inter-regular"/>
              </a:rPr>
              <a:t>phoneBook.forEach</a:t>
            </a:r>
            <a:r>
              <a:rPr lang="en-US" sz="1800">
                <a:latin typeface="inter-regular"/>
              </a:rPr>
              <a:t>(</a:t>
            </a:r>
            <a:r>
              <a:rPr lang="en-US" sz="1800" err="1">
                <a:latin typeface="inter-regular"/>
              </a:rPr>
              <a:t>System.</a:t>
            </a:r>
            <a:r>
              <a:rPr lang="en-US" sz="1800" b="1" i="1" err="1">
                <a:latin typeface="inter-regular"/>
              </a:rPr>
              <a:t>out</a:t>
            </a:r>
            <a:r>
              <a:rPr lang="en-US" sz="1800" b="1" i="1">
                <a:latin typeface="inter-regular"/>
              </a:rPr>
              <a:t>::</a:t>
            </a:r>
            <a:r>
              <a:rPr lang="en-US" sz="1800" b="1" i="1" err="1">
                <a:latin typeface="inter-regular"/>
              </a:rPr>
              <a:t>println</a:t>
            </a:r>
            <a:r>
              <a:rPr lang="en-US" sz="1800" b="1" i="1">
                <a:latin typeface="inter-regular"/>
              </a:rPr>
              <a:t>);</a:t>
            </a:r>
            <a:endParaRPr lang="en-US" sz="1800"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387072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sz="2800"/>
              <a:t>Distinct()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returns a stream instance which has all elements unique/distinct. </a:t>
            </a:r>
          </a:p>
          <a:p>
            <a:pPr lvl="1">
              <a:lnSpc>
                <a:spcPct val="150000"/>
              </a:lnSpc>
            </a:pPr>
            <a:r>
              <a:rPr lang="en-US" altLang="en-US" sz="2000" b="1">
                <a:latin typeface="inter-regular"/>
              </a:rPr>
              <a:t>The </a:t>
            </a:r>
            <a:r>
              <a:rPr lang="en-US" altLang="en-US" sz="2000" b="1" i="1">
                <a:latin typeface="inter-regular"/>
              </a:rPr>
              <a:t>uniqueness</a:t>
            </a:r>
            <a:r>
              <a:rPr lang="en-US" altLang="en-US" sz="2000" b="1">
                <a:latin typeface="inter-regular"/>
              </a:rPr>
              <a:t> is determined by the equals &amp; </a:t>
            </a:r>
            <a:r>
              <a:rPr lang="en-US" altLang="en-US" sz="2000" b="1" err="1">
                <a:latin typeface="inter-regular"/>
              </a:rPr>
              <a:t>hashcode</a:t>
            </a:r>
            <a:r>
              <a:rPr lang="en-US" altLang="en-US" sz="2000" b="1">
                <a:latin typeface="inter-regular"/>
              </a:rPr>
              <a:t> </a:t>
            </a:r>
          </a:p>
          <a:p>
            <a:pPr lvl="1">
              <a:lnSpc>
                <a:spcPct val="150000"/>
              </a:lnSpc>
            </a:pPr>
            <a:endParaRPr lang="en-US" altLang="en-US" sz="2000" b="1">
              <a:latin typeface="inter-regular"/>
            </a:endParaRPr>
          </a:p>
          <a:p>
            <a:pPr lvl="1">
              <a:lnSpc>
                <a:spcPct val="150000"/>
              </a:lnSpc>
              <a:buFontTx/>
              <a:buNone/>
            </a:pPr>
            <a:r>
              <a:rPr lang="en-US" altLang="en-US" sz="2000">
                <a:solidFill>
                  <a:srgbClr val="C00000"/>
                </a:solidFill>
                <a:latin typeface="inter-regular"/>
              </a:rPr>
              <a:t> List&lt;Long&gt; </a:t>
            </a:r>
            <a:r>
              <a:rPr lang="en-US" altLang="en-US" sz="2000" u="sng" err="1">
                <a:solidFill>
                  <a:srgbClr val="C00000"/>
                </a:solidFill>
                <a:latin typeface="inter-regular"/>
              </a:rPr>
              <a:t>custIds</a:t>
            </a:r>
            <a:r>
              <a:rPr lang="en-US" altLang="en-US" sz="2000" u="sng">
                <a:solidFill>
                  <a:srgbClr val="C00000"/>
                </a:solidFill>
                <a:latin typeface="inter-regular"/>
              </a:rPr>
              <a:t>= </a:t>
            </a:r>
            <a:r>
              <a:rPr lang="en-US" altLang="en-US" sz="2000" u="sng" err="1">
                <a:solidFill>
                  <a:srgbClr val="C00000"/>
                </a:solidFill>
                <a:latin typeface="inter-regular"/>
              </a:rPr>
              <a:t>customerList.stream</a:t>
            </a:r>
            <a:r>
              <a:rPr lang="en-US" altLang="en-US" sz="2000" u="sng">
                <a:solidFill>
                  <a:srgbClr val="C00000"/>
                </a:solidFill>
                <a:latin typeface="inter-regular"/>
              </a:rPr>
              <a:t>().map(e -&gt; </a:t>
            </a:r>
            <a:r>
              <a:rPr lang="en-US" altLang="en-US" sz="2000" u="sng" err="1">
                <a:solidFill>
                  <a:srgbClr val="C00000"/>
                </a:solidFill>
                <a:latin typeface="inter-regular"/>
              </a:rPr>
              <a:t>e.getCustomerId</a:t>
            </a:r>
            <a:r>
              <a:rPr lang="en-US" altLang="en-US" sz="2000" u="sng">
                <a:solidFill>
                  <a:srgbClr val="C00000"/>
                </a:solidFill>
                <a:latin typeface="inter-regular"/>
              </a:rPr>
              <a:t>()).distinct().collect(</a:t>
            </a:r>
            <a:r>
              <a:rPr lang="en-US" altLang="en-US" sz="2000" i="1" u="sng" err="1">
                <a:solidFill>
                  <a:srgbClr val="C00000"/>
                </a:solidFill>
                <a:latin typeface="inter-regular"/>
              </a:rPr>
              <a:t>toList</a:t>
            </a:r>
            <a:r>
              <a:rPr lang="en-US" altLang="en-US" sz="2000" i="1" u="sng">
                <a:solidFill>
                  <a:srgbClr val="C00000"/>
                </a:solidFill>
                <a:latin typeface="inter-regular"/>
              </a:rPr>
              <a:t>());</a:t>
            </a:r>
            <a:endParaRPr lang="en-US" altLang="en-US" sz="2000" b="1">
              <a:solidFill>
                <a:srgbClr val="C00000"/>
              </a:solidFill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87398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32399"/>
          </a:xfrm>
        </p:spPr>
        <p:txBody>
          <a:bodyPr/>
          <a:lstStyle/>
          <a:p>
            <a:r>
              <a:rPr lang="en-US" altLang="en-US" sz="2400"/>
              <a:t>Sorted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>
              <a:defRPr/>
            </a:pPr>
            <a:r>
              <a:rPr lang="en-US" sz="2000">
                <a:solidFill>
                  <a:srgbClr val="C00000"/>
                </a:solidFill>
                <a:latin typeface="inter-regular"/>
              </a:rPr>
              <a:t>sorted()</a:t>
            </a:r>
          </a:p>
          <a:p>
            <a:pPr lvl="1">
              <a:defRPr/>
            </a:pPr>
            <a:r>
              <a:rPr lang="en-US" sz="2000">
                <a:latin typeface="inter-regular"/>
              </a:rPr>
              <a:t>Sorts the elements using natural ordering. </a:t>
            </a:r>
          </a:p>
          <a:p>
            <a:pPr lvl="1">
              <a:defRPr/>
            </a:pPr>
            <a:r>
              <a:rPr lang="en-US" sz="2000">
                <a:latin typeface="inter-regular"/>
              </a:rPr>
              <a:t>The element class must implement Comparable interface. </a:t>
            </a:r>
          </a:p>
          <a:p>
            <a:pPr>
              <a:defRPr/>
            </a:pPr>
            <a:endParaRPr lang="en-US" sz="2000">
              <a:latin typeface="inter-regular"/>
            </a:endParaRPr>
          </a:p>
          <a:p>
            <a:pPr lvl="1">
              <a:buFontTx/>
              <a:buNone/>
              <a:defRPr/>
            </a:pPr>
            <a:r>
              <a:rPr lang="en-US" sz="2000">
                <a:latin typeface="inter-regular"/>
              </a:rPr>
              <a:t> List&lt;Customer&gt; </a:t>
            </a:r>
            <a:r>
              <a:rPr lang="en-US" sz="2000" err="1">
                <a:latin typeface="inter-regular"/>
              </a:rPr>
              <a:t>sortedList</a:t>
            </a:r>
            <a:r>
              <a:rPr lang="en-US" sz="2000">
                <a:latin typeface="inter-regular"/>
              </a:rPr>
              <a:t> = </a:t>
            </a:r>
            <a:r>
              <a:rPr lang="en-US" sz="2000" err="1">
                <a:latin typeface="inter-regular"/>
              </a:rPr>
              <a:t>customerList.stream</a:t>
            </a:r>
            <a:r>
              <a:rPr lang="en-US" sz="2000">
                <a:latin typeface="inter-regular"/>
              </a:rPr>
              <a:t>().sorted().collect(</a:t>
            </a:r>
            <a:r>
              <a:rPr lang="en-US" sz="2000" i="1" err="1">
                <a:latin typeface="inter-regular"/>
              </a:rPr>
              <a:t>toList</a:t>
            </a:r>
            <a:r>
              <a:rPr lang="en-US" sz="2000" i="1">
                <a:latin typeface="inter-regular"/>
              </a:rPr>
              <a:t>());</a:t>
            </a:r>
          </a:p>
          <a:p>
            <a:pPr lvl="1">
              <a:defRPr/>
            </a:pPr>
            <a:endParaRPr lang="en-US" sz="2000" b="1">
              <a:solidFill>
                <a:srgbClr val="C00000"/>
              </a:solidFill>
              <a:latin typeface="inter-regular"/>
            </a:endParaRPr>
          </a:p>
          <a:p>
            <a:pPr>
              <a:defRPr/>
            </a:pPr>
            <a:r>
              <a:rPr lang="en-US" sz="2000" b="1">
                <a:solidFill>
                  <a:srgbClr val="C00000"/>
                </a:solidFill>
                <a:latin typeface="inter-regular"/>
              </a:rPr>
              <a:t> sorted(Comparator&lt;? super T&gt; comparator) </a:t>
            </a:r>
          </a:p>
          <a:p>
            <a:pPr lvl="1">
              <a:defRPr/>
            </a:pPr>
            <a:r>
              <a:rPr lang="en-US" sz="2000">
                <a:latin typeface="inter-regular"/>
              </a:rPr>
              <a:t>Sorted using an instance of Comparator using lambda expression. </a:t>
            </a:r>
          </a:p>
          <a:p>
            <a:pPr>
              <a:defRPr/>
            </a:pPr>
            <a:r>
              <a:rPr lang="en-US" sz="2000" b="1" err="1">
                <a:solidFill>
                  <a:srgbClr val="C00000"/>
                </a:solidFill>
                <a:latin typeface="inter-regular"/>
              </a:rPr>
              <a:t>Comparator.comparing</a:t>
            </a:r>
            <a:r>
              <a:rPr lang="en-US">
                <a:latin typeface="inter-regular"/>
              </a:rPr>
              <a:t> </a:t>
            </a:r>
          </a:p>
          <a:p>
            <a:pPr lvl="1">
              <a:defRPr/>
            </a:pPr>
            <a:r>
              <a:rPr lang="en-US" sz="2000">
                <a:latin typeface="inter-regular"/>
              </a:rPr>
              <a:t>A static function that accepts a sort key </a:t>
            </a:r>
            <a:r>
              <a:rPr lang="en-US" sz="2000" i="1">
                <a:latin typeface="inter-regular"/>
              </a:rPr>
              <a:t>Function</a:t>
            </a:r>
            <a:r>
              <a:rPr lang="en-US" sz="2000">
                <a:latin typeface="inter-regular"/>
              </a:rPr>
              <a:t> </a:t>
            </a:r>
          </a:p>
          <a:p>
            <a:pPr lvl="1">
              <a:defRPr/>
            </a:pPr>
            <a:r>
              <a:rPr lang="en-US" sz="2000">
                <a:latin typeface="inter-regular"/>
              </a:rPr>
              <a:t>Returns a </a:t>
            </a:r>
            <a:r>
              <a:rPr lang="en-US" sz="2000" i="1">
                <a:latin typeface="inter-regular"/>
              </a:rPr>
              <a:t>Comparator</a:t>
            </a:r>
            <a:r>
              <a:rPr lang="en-US" sz="2000">
                <a:latin typeface="inter-regular"/>
              </a:rPr>
              <a:t> for the type which contains the sort key: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286078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/>
              <a:t>Limit(n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Puts an upper-limit cap purely based on the number of elements in the stream. </a:t>
            </a:r>
          </a:p>
          <a:p>
            <a:pPr lvl="1">
              <a:lnSpc>
                <a:spcPct val="150000"/>
              </a:lnSpc>
            </a:pPr>
            <a:endParaRPr lang="en-US" altLang="en-US" sz="2000">
              <a:latin typeface="inter-regular"/>
            </a:endParaRP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If the stream had less than n elements, and limit of n has been applied on the stream, then there is no affect on the stream </a:t>
            </a:r>
          </a:p>
          <a:p>
            <a:pPr>
              <a:lnSpc>
                <a:spcPct val="150000"/>
              </a:lnSpc>
            </a:pPr>
            <a:r>
              <a:rPr lang="en-US" altLang="en-US" sz="2000" b="1">
                <a:latin typeface="inter-regular"/>
              </a:rPr>
              <a:t>Skip(n) </a:t>
            </a:r>
            <a:endParaRPr lang="en-US" altLang="en-US" sz="2000">
              <a:latin typeface="inter-regular"/>
            </a:endParaRP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returns a truncated version of the original stream such that the first n elements in the list are skipped and the remaining elements are returned in the resulting stream.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33654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/>
              <a:t>limit(n) &amp; skip(n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en-US" altLang="en-US" sz="2000" b="1">
                <a:latin typeface="inter-regular"/>
              </a:rPr>
              <a:t>These two are complimentary</a:t>
            </a:r>
            <a:r>
              <a:rPr lang="en-US" altLang="en-US" sz="2000">
                <a:latin typeface="inter-regular"/>
              </a:rPr>
              <a:t> 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While limit(n) gives the first n elements from positions 1 to n; 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skip(n) gives elements from positions n+1 to k. 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Given a stream of size k, streams obtained from limit(n) &amp; skip(n) applied on the original stream (where, n&lt;=k) when aggregated together give us the original stream back. 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Joining the streams obtained from limit(n) &amp; skip(n) gives the original stream back</a:t>
            </a:r>
          </a:p>
          <a:p>
            <a:pPr marL="61722" lvl="1" indent="0">
              <a:lnSpc>
                <a:spcPct val="150000"/>
              </a:lnSpc>
              <a:buNone/>
            </a:pPr>
            <a:r>
              <a:rPr lang="en-US" altLang="en-US" sz="2000">
                <a:latin typeface="inter-regular"/>
              </a:rPr>
              <a:t>.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159113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/>
              <a:t>Terminal operation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43A57AC-43CC-9565-8B23-1E5EAEA3DE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757" y="1268751"/>
            <a:ext cx="6611551" cy="479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79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43198"/>
          </a:xfrm>
        </p:spPr>
        <p:txBody>
          <a:bodyPr/>
          <a:lstStyle/>
          <a:p>
            <a:r>
              <a:rPr lang="en-US" sz="3200"/>
              <a:t>Stream Reduction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r>
              <a:rPr lang="en-US" altLang="en-US" sz="2000" i="1">
                <a:latin typeface="inter-regular"/>
              </a:rPr>
              <a:t>count(), max(), min(), sum()</a:t>
            </a:r>
          </a:p>
          <a:p>
            <a:endParaRPr lang="en-US" altLang="en-US" sz="2000" i="1">
              <a:latin typeface="inter-regular"/>
            </a:endParaRPr>
          </a:p>
          <a:p>
            <a:pPr lvl="1"/>
            <a:r>
              <a:rPr lang="en-US" altLang="en-US" sz="2000">
                <a:latin typeface="inter-regular"/>
              </a:rPr>
              <a:t>Predefined Terminal Operation implementation.</a:t>
            </a:r>
          </a:p>
          <a:p>
            <a:pPr lvl="1"/>
            <a:endParaRPr lang="en-US" altLang="en-US" sz="2000">
              <a:latin typeface="inter-regular"/>
            </a:endParaRPr>
          </a:p>
          <a:p>
            <a:pPr lvl="1"/>
            <a:r>
              <a:rPr lang="en-US" altLang="en-US" sz="2000">
                <a:latin typeface="inter-regular"/>
              </a:rPr>
              <a:t>Used to aggregate a stream to a type or to a primitive</a:t>
            </a:r>
          </a:p>
          <a:p>
            <a:pPr lvl="1"/>
            <a:endParaRPr lang="en-US" altLang="en-US" sz="2000" i="1">
              <a:latin typeface="inter-regular"/>
            </a:endParaRPr>
          </a:p>
          <a:p>
            <a:r>
              <a:rPr lang="en-US" altLang="en-US" sz="2000" b="1">
                <a:latin typeface="inter-regular"/>
              </a:rPr>
              <a:t>Can create a custom Stream’s reduction mechanism</a:t>
            </a:r>
            <a:r>
              <a:rPr lang="en-US" altLang="en-US" sz="2000">
                <a:latin typeface="inter-regular"/>
              </a:rPr>
              <a:t> by using two methods</a:t>
            </a:r>
          </a:p>
          <a:p>
            <a:endParaRPr lang="en-US" altLang="en-US" sz="2000">
              <a:latin typeface="inter-regular"/>
            </a:endParaRPr>
          </a:p>
          <a:p>
            <a:pPr>
              <a:lnSpc>
                <a:spcPct val="150000"/>
              </a:lnSpc>
            </a:pPr>
            <a:r>
              <a:rPr lang="en-US" altLang="en-US" sz="2000" b="1" i="1">
                <a:latin typeface="inter-regular"/>
              </a:rPr>
              <a:t>reduce()</a:t>
            </a:r>
            <a:r>
              <a:rPr lang="en-US" altLang="en-US" sz="2000" i="1">
                <a:latin typeface="inter-regular"/>
              </a:rPr>
              <a:t> </a:t>
            </a:r>
          </a:p>
          <a:p>
            <a:pPr>
              <a:lnSpc>
                <a:spcPct val="150000"/>
              </a:lnSpc>
            </a:pPr>
            <a:r>
              <a:rPr lang="en-US" altLang="en-US" sz="2000" b="1" i="1">
                <a:latin typeface="inter-regular"/>
              </a:rPr>
              <a:t>collect()</a:t>
            </a:r>
            <a:r>
              <a:rPr lang="en-US" altLang="en-US" sz="2000">
                <a:latin typeface="inter-regular"/>
              </a:rPr>
              <a:t> 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106995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 b="1"/>
              <a:t>Stream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java.util.streams</a:t>
            </a: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Introduction to Streams API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Collections vs Streams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Creating Streams and types of streams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Intermediate Operations on Streams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Using map(), filter(),sort(),limit(), </a:t>
            </a: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flatmap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() methods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Terminal Operations on Streams Using </a:t>
            </a: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forEach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(), iterator(),</a:t>
            </a: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findFirst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(),</a:t>
            </a: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findAny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(), </a:t>
            </a: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OrElseThrow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(), </a:t>
            </a:r>
            <a:r>
              <a:rPr lang="en-US" sz="2000" b="0" i="0" err="1">
                <a:solidFill>
                  <a:srgbClr val="273239"/>
                </a:solidFill>
                <a:effectLst/>
                <a:latin typeface="inter-regular"/>
              </a:rPr>
              <a:t>toArray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(), collect() methods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Understanding the Optional class and its usage.</a:t>
            </a:r>
          </a:p>
        </p:txBody>
      </p:sp>
    </p:spTree>
    <p:extLst>
      <p:ext uri="{BB962C8B-B14F-4D97-AF65-F5344CB8AC3E}">
        <p14:creationId xmlns:p14="http://schemas.microsoft.com/office/powerpoint/2010/main" val="195526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98598"/>
          </a:xfrm>
        </p:spPr>
        <p:txBody>
          <a:bodyPr/>
          <a:lstStyle/>
          <a:p>
            <a:r>
              <a:rPr lang="en-US" altLang="en-US" sz="3600"/>
              <a:t>Max , Min ,Count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sz="2000" b="1" i="1">
                <a:solidFill>
                  <a:srgbClr val="C00000"/>
                </a:solidFill>
                <a:latin typeface="inter-regular"/>
              </a:rPr>
              <a:t>count() </a:t>
            </a:r>
            <a:endParaRPr lang="en-US" sz="2000" b="1">
              <a:solidFill>
                <a:srgbClr val="C00000"/>
              </a:solidFill>
              <a:latin typeface="inter-regular"/>
            </a:endParaRPr>
          </a:p>
          <a:p>
            <a:pPr lvl="1">
              <a:lnSpc>
                <a:spcPct val="150000"/>
              </a:lnSpc>
              <a:defRPr/>
            </a:pPr>
            <a:r>
              <a:rPr lang="en-US" sz="2000">
                <a:latin typeface="inter-regular"/>
              </a:rPr>
              <a:t>returns the count of elements of a stream.</a:t>
            </a:r>
          </a:p>
          <a:p>
            <a:pPr>
              <a:lnSpc>
                <a:spcPct val="150000"/>
              </a:lnSpc>
              <a:defRPr/>
            </a:pPr>
            <a:r>
              <a:rPr lang="en-US" sz="2000" b="1" i="1">
                <a:solidFill>
                  <a:srgbClr val="C00000"/>
                </a:solidFill>
                <a:latin typeface="inter-regular"/>
              </a:rPr>
              <a:t>max()</a:t>
            </a:r>
            <a:r>
              <a:rPr lang="en-US" sz="2000" b="1">
                <a:solidFill>
                  <a:srgbClr val="C00000"/>
                </a:solidFill>
                <a:latin typeface="inter-regular"/>
              </a:rPr>
              <a:t> 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>
                <a:latin typeface="inter-regular"/>
              </a:rPr>
              <a:t>returns the maximum element of a stream according to the provided Comparator.</a:t>
            </a:r>
          </a:p>
          <a:p>
            <a:pPr>
              <a:lnSpc>
                <a:spcPct val="150000"/>
              </a:lnSpc>
              <a:defRPr/>
            </a:pPr>
            <a:r>
              <a:rPr lang="en-US" sz="2000" b="1" i="1">
                <a:solidFill>
                  <a:srgbClr val="C00000"/>
                </a:solidFill>
                <a:latin typeface="inter-regular"/>
              </a:rPr>
              <a:t>min()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>
                <a:latin typeface="inter-regular"/>
              </a:rPr>
              <a:t>returns the minimum element of a stream according to the provided Comparator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250387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498598"/>
          </a:xfrm>
        </p:spPr>
        <p:txBody>
          <a:bodyPr/>
          <a:lstStyle/>
          <a:p>
            <a:r>
              <a:rPr lang="en-US" altLang="en-US" sz="3600"/>
              <a:t>Count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lvl="1">
              <a:buFontTx/>
              <a:buNone/>
              <a:defRPr/>
            </a:pPr>
            <a:endParaRPr lang="en-US" sz="2000">
              <a:latin typeface="inter-regular"/>
            </a:endParaRPr>
          </a:p>
          <a:p>
            <a:pPr lvl="1">
              <a:lnSpc>
                <a:spcPct val="150000"/>
              </a:lnSpc>
              <a:buFontTx/>
              <a:buNone/>
              <a:defRPr/>
            </a:pPr>
            <a:r>
              <a:rPr lang="en-US" sz="2000" b="1">
                <a:latin typeface="inter-regular"/>
              </a:rPr>
              <a:t>long  </a:t>
            </a:r>
            <a:r>
              <a:rPr lang="en-US" sz="2000" b="1" err="1">
                <a:latin typeface="inter-regular"/>
              </a:rPr>
              <a:t>countresult</a:t>
            </a:r>
            <a:r>
              <a:rPr lang="en-US" sz="2000" b="1">
                <a:latin typeface="inter-regular"/>
              </a:rPr>
              <a:t>= </a:t>
            </a:r>
            <a:r>
              <a:rPr lang="en-US" sz="2000" b="1" err="1">
                <a:latin typeface="inter-regular"/>
              </a:rPr>
              <a:t>catalog.stream</a:t>
            </a:r>
            <a:r>
              <a:rPr lang="en-US" sz="2000" b="1">
                <a:latin typeface="inter-regular"/>
              </a:rPr>
              <a:t>().</a:t>
            </a:r>
          </a:p>
          <a:p>
            <a:pPr lvl="1">
              <a:lnSpc>
                <a:spcPct val="150000"/>
              </a:lnSpc>
              <a:buFontTx/>
              <a:buNone/>
              <a:defRPr/>
            </a:pPr>
            <a:r>
              <a:rPr lang="en-US" sz="2000">
                <a:latin typeface="inter-regular"/>
              </a:rPr>
              <a:t>                 filter((Product prod ) -&gt; </a:t>
            </a:r>
            <a:r>
              <a:rPr lang="en-US" sz="2000" err="1">
                <a:latin typeface="inter-regular"/>
              </a:rPr>
              <a:t>prod.getProductName</a:t>
            </a:r>
            <a:r>
              <a:rPr lang="en-US" sz="2000">
                <a:latin typeface="inter-regular"/>
              </a:rPr>
              <a:t>().</a:t>
            </a:r>
            <a:r>
              <a:rPr lang="en-US" sz="2000" err="1">
                <a:latin typeface="inter-regular"/>
              </a:rPr>
              <a:t>equalsIgnoreCase</a:t>
            </a:r>
            <a:r>
              <a:rPr lang="en-US" sz="2000">
                <a:latin typeface="inter-regular"/>
              </a:rPr>
              <a:t>(</a:t>
            </a:r>
            <a:r>
              <a:rPr lang="en-US" sz="2000" err="1">
                <a:latin typeface="inter-regular"/>
              </a:rPr>
              <a:t>itemType</a:t>
            </a:r>
            <a:r>
              <a:rPr lang="en-US" sz="2000">
                <a:latin typeface="inter-regular"/>
              </a:rPr>
              <a:t>)).count();</a:t>
            </a:r>
          </a:p>
          <a:p>
            <a:pPr lvl="1">
              <a:lnSpc>
                <a:spcPct val="150000"/>
              </a:lnSpc>
              <a:buFontTx/>
              <a:buNone/>
              <a:defRPr/>
            </a:pPr>
            <a:r>
              <a:rPr lang="en-US" sz="2000">
                <a:latin typeface="inter-regular"/>
              </a:rPr>
              <a:t> </a:t>
            </a:r>
          </a:p>
          <a:p>
            <a:pPr lvl="1">
              <a:lnSpc>
                <a:spcPct val="150000"/>
              </a:lnSpc>
              <a:buFontTx/>
              <a:buNone/>
              <a:defRPr/>
            </a:pPr>
            <a:r>
              <a:rPr lang="en-US" sz="2000">
                <a:latin typeface="inter-regular"/>
              </a:rPr>
              <a:t> </a:t>
            </a:r>
          </a:p>
          <a:p>
            <a:pPr lvl="1">
              <a:lnSpc>
                <a:spcPct val="150000"/>
              </a:lnSpc>
              <a:buFontTx/>
              <a:buNone/>
              <a:defRPr/>
            </a:pPr>
            <a:r>
              <a:rPr lang="en-US" sz="2000">
                <a:latin typeface="inter-regular"/>
              </a:rPr>
              <a:t>                         </a:t>
            </a:r>
            <a:r>
              <a:rPr lang="en-US" sz="2000" u="sng" err="1">
                <a:latin typeface="inter-regular"/>
              </a:rPr>
              <a:t>System.</a:t>
            </a:r>
            <a:r>
              <a:rPr lang="en-US" sz="2000" b="1" i="1" u="sng" err="1">
                <a:latin typeface="inter-regular"/>
              </a:rPr>
              <a:t>out.println</a:t>
            </a:r>
            <a:r>
              <a:rPr lang="en-US" sz="2000" b="1" i="1" u="sng">
                <a:latin typeface="inter-regular"/>
              </a:rPr>
              <a:t>(</a:t>
            </a:r>
            <a:r>
              <a:rPr lang="en-US" sz="2000" b="1" i="1" u="sng" err="1">
                <a:latin typeface="inter-regular"/>
              </a:rPr>
              <a:t>countresult</a:t>
            </a:r>
            <a:r>
              <a:rPr lang="en-US" sz="2000" b="1" i="1" u="sng">
                <a:latin typeface="inter-regular"/>
              </a:rPr>
              <a:t>);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210455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/>
              <a:t>Collect(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lvl="1">
              <a:buFontTx/>
              <a:buNone/>
              <a:defRPr/>
            </a:pPr>
            <a:endParaRPr lang="en-US" sz="2000">
              <a:ea typeface="+mn-ea"/>
              <a:cs typeface="+mn-cs"/>
            </a:endParaRPr>
          </a:p>
          <a:p>
            <a:pPr>
              <a:defRPr/>
            </a:pPr>
            <a:r>
              <a:rPr lang="en-US" sz="2000" b="1" i="1" err="1"/>
              <a:t>Collectors.toCollection</a:t>
            </a:r>
            <a:r>
              <a:rPr lang="en-US" sz="2000" b="1" i="1"/>
              <a:t>()</a:t>
            </a:r>
            <a:endParaRPr lang="en-US" sz="2000" b="1"/>
          </a:p>
          <a:p>
            <a:pPr lvl="1">
              <a:defRPr/>
            </a:pPr>
            <a:r>
              <a:rPr lang="en-US" sz="2000">
                <a:ea typeface="+mn-ea"/>
                <a:cs typeface="+mn-cs"/>
              </a:rPr>
              <a:t>To use a custom implementation</a:t>
            </a:r>
          </a:p>
          <a:p>
            <a:pPr lvl="1">
              <a:buFontTx/>
              <a:buNone/>
              <a:defRPr/>
            </a:pPr>
            <a:endParaRPr lang="en-US" sz="1800">
              <a:ea typeface="+mn-ea"/>
              <a:cs typeface="+mn-cs"/>
            </a:endParaRPr>
          </a:p>
          <a:p>
            <a:pPr lvl="1">
              <a:buFontTx/>
              <a:buNone/>
              <a:defRPr/>
            </a:pPr>
            <a:r>
              <a:rPr lang="en-US" sz="1800">
                <a:ea typeface="+mn-ea"/>
                <a:cs typeface="+mn-cs"/>
              </a:rPr>
              <a:t>List&lt;String&gt; result = </a:t>
            </a:r>
            <a:r>
              <a:rPr lang="en-US" sz="1800" err="1">
                <a:ea typeface="+mn-ea"/>
                <a:cs typeface="+mn-cs"/>
              </a:rPr>
              <a:t>givenList.stream</a:t>
            </a:r>
            <a:r>
              <a:rPr lang="en-US" sz="1800">
                <a:ea typeface="+mn-ea"/>
                <a:cs typeface="+mn-cs"/>
              </a:rPr>
              <a:t>()</a:t>
            </a:r>
          </a:p>
          <a:p>
            <a:pPr lvl="1">
              <a:buFontTx/>
              <a:buNone/>
              <a:defRPr/>
            </a:pPr>
            <a:r>
              <a:rPr lang="en-US" sz="1800">
                <a:ea typeface="+mn-ea"/>
                <a:cs typeface="+mn-cs"/>
              </a:rPr>
              <a:t>  .collect(</a:t>
            </a:r>
            <a:r>
              <a:rPr lang="en-US" sz="1800" err="1">
                <a:ea typeface="+mn-ea"/>
                <a:cs typeface="+mn-cs"/>
              </a:rPr>
              <a:t>toCollection</a:t>
            </a:r>
            <a:r>
              <a:rPr lang="en-US" sz="1800">
                <a:ea typeface="+mn-ea"/>
                <a:cs typeface="+mn-cs"/>
              </a:rPr>
              <a:t>(LinkedList::new))</a:t>
            </a:r>
          </a:p>
          <a:p>
            <a:pPr>
              <a:defRPr/>
            </a:pPr>
            <a:endParaRPr lang="en-US" sz="2000" b="1"/>
          </a:p>
          <a:p>
            <a:pPr>
              <a:defRPr/>
            </a:pPr>
            <a:r>
              <a:rPr lang="en-US" sz="2000" b="1" i="1" err="1"/>
              <a:t>Collectors</a:t>
            </a:r>
            <a:r>
              <a:rPr lang="en-US" sz="2000" b="1" err="1"/>
              <a:t>.t</a:t>
            </a:r>
            <a:r>
              <a:rPr lang="en-US" sz="2000" b="1" i="1" err="1"/>
              <a:t>oMap</a:t>
            </a:r>
            <a:r>
              <a:rPr lang="en-US" sz="2000" b="1" i="1"/>
              <a:t>()</a:t>
            </a:r>
            <a:endParaRPr lang="en-US" sz="2000" b="1"/>
          </a:p>
          <a:p>
            <a:pPr lvl="1">
              <a:defRPr/>
            </a:pPr>
            <a:r>
              <a:rPr lang="en-US" sz="2000">
                <a:ea typeface="+mn-ea"/>
                <a:cs typeface="+mn-cs"/>
              </a:rPr>
              <a:t>Used to collect </a:t>
            </a:r>
            <a:r>
              <a:rPr lang="en-US" sz="2000" i="1">
                <a:ea typeface="+mn-ea"/>
                <a:cs typeface="+mn-cs"/>
              </a:rPr>
              <a:t>Stream</a:t>
            </a:r>
            <a:r>
              <a:rPr lang="en-US" sz="2000">
                <a:ea typeface="+mn-ea"/>
                <a:cs typeface="+mn-cs"/>
              </a:rPr>
              <a:t> elements into a </a:t>
            </a:r>
            <a:r>
              <a:rPr lang="en-US" sz="2000" i="1">
                <a:ea typeface="+mn-ea"/>
                <a:cs typeface="+mn-cs"/>
              </a:rPr>
              <a:t>Map</a:t>
            </a:r>
            <a:r>
              <a:rPr lang="en-US" sz="2000">
                <a:ea typeface="+mn-ea"/>
                <a:cs typeface="+mn-cs"/>
              </a:rPr>
              <a:t> instance. </a:t>
            </a:r>
          </a:p>
          <a:p>
            <a:pPr>
              <a:defRPr/>
            </a:pPr>
            <a:endParaRPr lang="en-US" sz="2000"/>
          </a:p>
          <a:p>
            <a:pPr lvl="1">
              <a:buFontTx/>
              <a:buNone/>
              <a:defRPr/>
            </a:pPr>
            <a:r>
              <a:rPr lang="en-US" sz="1800">
                <a:ea typeface="+mn-ea"/>
                <a:cs typeface="+mn-cs"/>
              </a:rPr>
              <a:t>Map&lt;Long, String&gt; map = </a:t>
            </a:r>
            <a:r>
              <a:rPr lang="en-US" sz="1800" err="1">
                <a:ea typeface="+mn-ea"/>
                <a:cs typeface="+mn-cs"/>
              </a:rPr>
              <a:t>customerList.stream</a:t>
            </a:r>
            <a:r>
              <a:rPr lang="en-US" sz="1800">
                <a:ea typeface="+mn-ea"/>
                <a:cs typeface="+mn-cs"/>
              </a:rPr>
              <a:t>()</a:t>
            </a:r>
          </a:p>
          <a:p>
            <a:pPr lvl="1">
              <a:buFontTx/>
              <a:buNone/>
              <a:defRPr/>
            </a:pPr>
            <a:r>
              <a:rPr lang="en-US" sz="1800">
                <a:ea typeface="+mn-ea"/>
                <a:cs typeface="+mn-cs"/>
              </a:rPr>
              <a:t>         .collect(</a:t>
            </a:r>
            <a:r>
              <a:rPr lang="en-US" sz="1800" err="1">
                <a:ea typeface="+mn-ea"/>
                <a:cs typeface="+mn-cs"/>
              </a:rPr>
              <a:t>Collectors.</a:t>
            </a:r>
            <a:r>
              <a:rPr lang="en-US" sz="1800" i="1" err="1">
                <a:ea typeface="+mn-ea"/>
                <a:cs typeface="+mn-cs"/>
              </a:rPr>
              <a:t>toMap</a:t>
            </a:r>
            <a:r>
              <a:rPr lang="en-US" sz="1800" i="1">
                <a:ea typeface="+mn-ea"/>
                <a:cs typeface="+mn-cs"/>
              </a:rPr>
              <a:t>(Customer::</a:t>
            </a:r>
            <a:r>
              <a:rPr lang="en-US" sz="1800" i="1" err="1">
                <a:ea typeface="+mn-ea"/>
                <a:cs typeface="+mn-cs"/>
              </a:rPr>
              <a:t>getPhoneNumber</a:t>
            </a:r>
            <a:r>
              <a:rPr lang="en-US" sz="1800" i="1">
                <a:ea typeface="+mn-ea"/>
                <a:cs typeface="+mn-cs"/>
              </a:rPr>
              <a:t>,                   			Customer::</a:t>
            </a:r>
            <a:r>
              <a:rPr lang="en-US" sz="1800" i="1" err="1">
                <a:ea typeface="+mn-ea"/>
                <a:cs typeface="+mn-cs"/>
              </a:rPr>
              <a:t>getCustomerName</a:t>
            </a:r>
            <a:r>
              <a:rPr lang="en-US" sz="1800" i="1">
                <a:ea typeface="+mn-ea"/>
                <a:cs typeface="+mn-cs"/>
              </a:rPr>
              <a:t>));</a:t>
            </a:r>
          </a:p>
          <a:p>
            <a:pPr lvl="1">
              <a:buFontTx/>
              <a:buNone/>
              <a:defRPr/>
            </a:pPr>
            <a:endParaRPr lang="en-US" sz="1800">
              <a:ea typeface="+mn-ea"/>
              <a:cs typeface="+mn-cs"/>
            </a:endParaRPr>
          </a:p>
          <a:p>
            <a:pPr lvl="1">
              <a:buFontTx/>
              <a:buNone/>
              <a:defRPr/>
            </a:pPr>
            <a:r>
              <a:rPr lang="en-US" sz="1800" err="1">
                <a:ea typeface="+mn-ea"/>
                <a:cs typeface="+mn-cs"/>
              </a:rPr>
              <a:t>map.forEach</a:t>
            </a:r>
            <a:r>
              <a:rPr lang="en-US" sz="1800">
                <a:ea typeface="+mn-ea"/>
                <a:cs typeface="+mn-cs"/>
              </a:rPr>
              <a:t>((x, y) -&gt; </a:t>
            </a:r>
            <a:r>
              <a:rPr lang="en-US" sz="1800" err="1">
                <a:ea typeface="+mn-ea"/>
                <a:cs typeface="+mn-cs"/>
              </a:rPr>
              <a:t>System.</a:t>
            </a:r>
            <a:r>
              <a:rPr lang="en-US" sz="1800" b="1" i="1" err="1">
                <a:ea typeface="+mn-ea"/>
                <a:cs typeface="+mn-cs"/>
              </a:rPr>
              <a:t>out.println</a:t>
            </a:r>
            <a:r>
              <a:rPr lang="en-US" sz="1800" b="1" i="1">
                <a:ea typeface="+mn-ea"/>
                <a:cs typeface="+mn-cs"/>
              </a:rPr>
              <a:t>("Key: " + x +", value: "+ y));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3560621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US" sz="2000"/>
              <a:t>Lab Exercises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217453" cy="4797646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1" i="0">
                <a:solidFill>
                  <a:srgbClr val="273239"/>
                </a:solidFill>
                <a:effectLst/>
                <a:latin typeface="inter-regular"/>
              </a:rPr>
              <a:t>Lab exercises using Java streams: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1)Filtering and Collecting: Create a list of integers. Use a stream to filter out the even numbers and collect them into a new list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2)Mapping: Create a list of strings. Use a stream to convert all the strings to uppercase and collect them into a new list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3)Finding and Matching: Create a list of integers. Use a stream to find the first number that is divisible by 3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4)Reducing: Create a list of integers. Use a stream to calculate the product of all the numbers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5)Grouping: Create a list of strings. Use a stream to group the strings by their length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6)Find the maximum and minimum number in a list of integers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7)Count the number of strings in a list that have a certain length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8)Convert a list of strings to a single string, separated by commas.</a:t>
            </a: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174822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 b="1"/>
              <a:t>Stream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An Interface defined in</a:t>
            </a:r>
            <a:r>
              <a:rPr lang="en-US" sz="2000" b="1" i="0">
                <a:solidFill>
                  <a:srgbClr val="273239"/>
                </a:solidFill>
                <a:effectLst/>
                <a:latin typeface="inter-regular"/>
              </a:rPr>
              <a:t> </a:t>
            </a:r>
            <a:r>
              <a:rPr lang="en-US" sz="2000" b="1" i="0" err="1">
                <a:solidFill>
                  <a:srgbClr val="273239"/>
                </a:solidFill>
                <a:effectLst/>
                <a:latin typeface="inter-regular"/>
              </a:rPr>
              <a:t>java.util.stream</a:t>
            </a:r>
            <a:r>
              <a:rPr lang="en-US" sz="2000" b="1" i="0">
                <a:solidFill>
                  <a:srgbClr val="273239"/>
                </a:solidFill>
                <a:effectLst/>
                <a:latin typeface="inter-regular"/>
              </a:rPr>
              <a:t> 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package.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Streams are a </a:t>
            </a:r>
            <a:r>
              <a:rPr lang="en-US" sz="2000" b="1" i="0">
                <a:solidFill>
                  <a:srgbClr val="273239"/>
                </a:solidFill>
                <a:effectLst/>
                <a:latin typeface="inter-regular"/>
              </a:rPr>
              <a:t>sequence of elements from a source</a:t>
            </a: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 that supports aggregate operations.</a:t>
            </a:r>
            <a:b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</a:b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  <a:p>
            <a:pPr algn="l" fontAlgn="base">
              <a:buNone/>
            </a:pPr>
            <a:r>
              <a:rPr lang="en-US" sz="2000" b="1" i="0">
                <a:solidFill>
                  <a:srgbClr val="273239"/>
                </a:solidFill>
                <a:effectLst/>
                <a:latin typeface="inter-regular"/>
              </a:rPr>
              <a:t>    filter, map, reduce, find, match, sort. 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    Operations can be executed in series or in parallel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The source can be a Collection, IO Operation or Arrays </a:t>
            </a:r>
          </a:p>
          <a:p>
            <a:pPr algn="l" fontAlgn="base">
              <a:buNone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Java collections has methods that return Stream. 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    - These Methods are added as default methods.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</p:spTree>
    <p:extLst>
      <p:ext uri="{BB962C8B-B14F-4D97-AF65-F5344CB8AC3E}">
        <p14:creationId xmlns:p14="http://schemas.microsoft.com/office/powerpoint/2010/main" val="43324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32399"/>
          </a:xfrm>
        </p:spPr>
        <p:txBody>
          <a:bodyPr/>
          <a:lstStyle/>
          <a:p>
            <a:r>
              <a:rPr lang="en-US" altLang="en-US" sz="2400"/>
              <a:t>Characteristics of Stream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sz="2000" dirty="0"/>
              <a:t>Not related to </a:t>
            </a:r>
            <a:r>
              <a:rPr lang="en-US" sz="2000" dirty="0" err="1"/>
              <a:t>InputStreams</a:t>
            </a:r>
            <a:r>
              <a:rPr lang="en-US" sz="2000" dirty="0"/>
              <a:t>, </a:t>
            </a:r>
            <a:r>
              <a:rPr lang="en-US" sz="2000" dirty="0" err="1"/>
              <a:t>OutputStreams</a:t>
            </a:r>
            <a:r>
              <a:rPr lang="en-US" sz="2000" dirty="0"/>
              <a:t>, etc.</a:t>
            </a:r>
          </a:p>
          <a:p>
            <a:pPr>
              <a:lnSpc>
                <a:spcPct val="150000"/>
              </a:lnSpc>
              <a:defRPr/>
            </a:pPr>
            <a:r>
              <a:rPr lang="en-US" sz="2000" dirty="0"/>
              <a:t>These are NOT data structures</a:t>
            </a:r>
          </a:p>
          <a:p>
            <a:pPr marL="61722" lvl="1" indent="0">
              <a:lnSpc>
                <a:spcPct val="150000"/>
              </a:lnSpc>
              <a:buNone/>
              <a:defRPr/>
            </a:pPr>
            <a:r>
              <a:rPr lang="en-US" sz="2000"/>
              <a:t>	Wrappers around Collection that carry values from a source 	</a:t>
            </a:r>
            <a:r>
              <a:rPr lang="en-US" sz="2000">
                <a:latin typeface="inter-regular"/>
              </a:rPr>
              <a:t>through</a:t>
            </a:r>
            <a:r>
              <a:rPr lang="en-US" sz="2000"/>
              <a:t> a pipeline of operations.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dirty="0"/>
              <a:t> More powerful, faster and more memory efficient than Lists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dirty="0"/>
              <a:t> Designed for lambdas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dirty="0"/>
              <a:t> Employ lazy evaluation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dirty="0"/>
              <a:t> Streams are parallelizable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 dirty="0">
              <a:solidFill>
                <a:srgbClr val="273239"/>
              </a:solidFill>
              <a:effectLst/>
              <a:latin typeface="inter-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771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Collections vs Stream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000">
                <a:latin typeface="inter-regular"/>
              </a:rPr>
              <a:t>Collections are in-memory data structures which hold elements within it.</a:t>
            </a:r>
          </a:p>
          <a:p>
            <a:pPr marL="61722" lvl="1" indent="0">
              <a:lnSpc>
                <a:spcPct val="150000"/>
              </a:lnSpc>
              <a:buNone/>
            </a:pPr>
            <a:r>
              <a:rPr lang="en-US" altLang="en-US" sz="2000">
                <a:latin typeface="inter-regular"/>
              </a:rPr>
              <a:t>	- Each element in the collection is computed before 			 		it actually becomes a part of that collection. </a:t>
            </a:r>
          </a:p>
          <a:p>
            <a:pPr marL="61722" lvl="1" indent="0">
              <a:lnSpc>
                <a:spcPct val="150000"/>
              </a:lnSpc>
              <a:buNone/>
            </a:pPr>
            <a:r>
              <a:rPr lang="en-US" altLang="en-US" sz="2000">
                <a:latin typeface="inter-regular"/>
              </a:rPr>
              <a:t>	- On the other hand, Streams are data computed on-demand 			basis. </a:t>
            </a:r>
          </a:p>
          <a:p>
            <a:pPr lvl="1">
              <a:lnSpc>
                <a:spcPct val="150000"/>
              </a:lnSpc>
            </a:pPr>
            <a:r>
              <a:rPr lang="en-US" altLang="en-US" sz="2000">
                <a:latin typeface="inter-regular"/>
              </a:rPr>
              <a:t>Streams are lazily constructed Collections, where the values are computed when user demands for it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000">
                <a:latin typeface="inter-regular"/>
              </a:rPr>
              <a:t>Collections are eagerly computed values 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</p:spTree>
    <p:extLst>
      <p:ext uri="{BB962C8B-B14F-4D97-AF65-F5344CB8AC3E}">
        <p14:creationId xmlns:p14="http://schemas.microsoft.com/office/powerpoint/2010/main" val="4736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Structure of Java 8 Stream Operation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6" y="1243263"/>
            <a:ext cx="7834313" cy="4608855"/>
          </a:xfrm>
        </p:spPr>
        <p:txBody>
          <a:bodyPr/>
          <a:lstStyle/>
          <a:p>
            <a:pPr lvl="1"/>
            <a:r>
              <a:rPr lang="en-US" altLang="en-US" sz="2000">
                <a:latin typeface="inter-regular"/>
              </a:rPr>
              <a:t>The three important components to make it work.</a:t>
            </a:r>
          </a:p>
          <a:p>
            <a:pPr marL="61722" lvl="1" indent="0">
              <a:buNone/>
            </a:pPr>
            <a:r>
              <a:rPr lang="en-US" altLang="en-US" sz="2000">
                <a:latin typeface="inter-regular"/>
              </a:rPr>
              <a:t>	- A source</a:t>
            </a:r>
          </a:p>
          <a:p>
            <a:pPr marL="61722" lvl="1" indent="0">
              <a:buNone/>
            </a:pPr>
            <a:r>
              <a:rPr lang="en-US" altLang="en-US" sz="2000">
                <a:latin typeface="inter-regular"/>
              </a:rPr>
              <a:t>	- one or more intermediate operations </a:t>
            </a:r>
          </a:p>
          <a:p>
            <a:pPr marL="61722" lvl="1" indent="0">
              <a:buNone/>
            </a:pPr>
            <a:r>
              <a:rPr lang="en-US" altLang="en-US" sz="2000">
                <a:latin typeface="inter-regular"/>
              </a:rPr>
              <a:t>	- A terminal operation</a:t>
            </a:r>
          </a:p>
          <a:p>
            <a:pPr>
              <a:buNone/>
            </a:pPr>
            <a:r>
              <a:rPr lang="en-US" altLang="en-US" sz="2000">
                <a:latin typeface="inter-regular"/>
              </a:rPr>
              <a:t>The three are </a:t>
            </a:r>
            <a:r>
              <a:rPr lang="en-US" altLang="en-US" sz="2000" b="1">
                <a:latin typeface="inter-regular"/>
              </a:rPr>
              <a:t>pipelined</a:t>
            </a:r>
            <a:r>
              <a:rPr lang="en-US" altLang="en-US" sz="2000">
                <a:latin typeface="inter-regular"/>
              </a:rPr>
              <a:t> in a sequence to make a stream work.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3" name="Content Placeholder 3" descr="java-streams.png">
            <a:extLst>
              <a:ext uri="{FF2B5EF4-FFF2-40B4-BE49-F238E27FC236}">
                <a16:creationId xmlns:a16="http://schemas.microsoft.com/office/drawing/2014/main" id="{E32E5E06-0480-4054-2571-622CA93A0C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895600"/>
            <a:ext cx="7772400" cy="340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251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Stream Operation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7" y="1243263"/>
            <a:ext cx="6950754" cy="4608855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  <p:pic>
        <p:nvPicPr>
          <p:cNvPr id="8" name="Content Placeholder 3" descr="stream_ops.png">
            <a:extLst>
              <a:ext uri="{FF2B5EF4-FFF2-40B4-BE49-F238E27FC236}">
                <a16:creationId xmlns:a16="http://schemas.microsoft.com/office/drawing/2014/main" id="{D51A1F2E-8640-DA04-0995-0E876607FC2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5" y="1237358"/>
            <a:ext cx="6906680" cy="4763391"/>
          </a:xfr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4DB9D8-E45B-0E75-8C37-399C033F1C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9283" y="1270742"/>
            <a:ext cx="6871131" cy="4630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2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Operation Categorie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7" y="1243263"/>
            <a:ext cx="6950754" cy="4608855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Two types of Operations 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	</a:t>
            </a:r>
            <a:r>
              <a:rPr lang="en-US" sz="2000" i="1">
                <a:solidFill>
                  <a:srgbClr val="273239"/>
                </a:solidFill>
                <a:effectLst/>
                <a:latin typeface="inter-regular"/>
              </a:rPr>
              <a:t>Intermediate operations </a:t>
            </a:r>
          </a:p>
          <a:p>
            <a:pPr algn="l" fontAlgn="base">
              <a:buNone/>
            </a:pPr>
            <a:r>
              <a:rPr lang="en-US" sz="2000" i="1">
                <a:solidFill>
                  <a:srgbClr val="273239"/>
                </a:solidFill>
                <a:effectLst/>
                <a:latin typeface="inter-regular"/>
              </a:rPr>
              <a:t>	Terminal Operations</a:t>
            </a:r>
            <a:r>
              <a:rPr lang="en-US" sz="2000" i="0">
                <a:solidFill>
                  <a:srgbClr val="273239"/>
                </a:solidFill>
                <a:effectLst/>
                <a:latin typeface="inter-regular"/>
              </a:rPr>
              <a:t>. 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r>
              <a:rPr lang="en-US" sz="2000" b="1" i="0">
                <a:solidFill>
                  <a:srgbClr val="273239"/>
                </a:solidFill>
                <a:effectLst/>
                <a:latin typeface="inter-regular"/>
              </a:rPr>
              <a:t>Intermediate operations 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	intermediate operations are lazy. 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	 - They will not be invoked until the terminal operation 			is invoked. </a:t>
            </a:r>
          </a:p>
          <a:p>
            <a:pPr lvl="1" indent="0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	 - Streams become accessible when intermediate 			            operations were called. 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	Return streams can pipeline of operations.</a:t>
            </a:r>
          </a:p>
          <a:p>
            <a:pPr algn="l" fontAlgn="base">
              <a:buNone/>
            </a:pPr>
            <a:r>
              <a:rPr lang="en-US" sz="2000" b="0" i="0">
                <a:solidFill>
                  <a:srgbClr val="273239"/>
                </a:solidFill>
                <a:effectLst/>
                <a:latin typeface="inter-regular"/>
              </a:rPr>
              <a:t>	 - map, filter, and limit  </a:t>
            </a: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139070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387798"/>
          </a:xfrm>
        </p:spPr>
        <p:txBody>
          <a:bodyPr/>
          <a:lstStyle/>
          <a:p>
            <a:r>
              <a:rPr lang="en-US" altLang="en-US" sz="2800"/>
              <a:t>Operation Categories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47" y="1243263"/>
            <a:ext cx="6950754" cy="4608855"/>
          </a:xfrm>
        </p:spPr>
        <p:txBody>
          <a:bodyPr/>
          <a:lstStyle/>
          <a:p>
            <a:r>
              <a:rPr lang="en-US" altLang="en-US" sz="2000" b="1" dirty="0">
                <a:latin typeface="inter-regular"/>
              </a:rPr>
              <a:t>The terminal operations</a:t>
            </a:r>
          </a:p>
          <a:p>
            <a:pPr lvl="1">
              <a:lnSpc>
                <a:spcPct val="150000"/>
              </a:lnSpc>
            </a:pPr>
            <a:r>
              <a:rPr lang="en-US" altLang="en-US" sz="2000" dirty="0">
                <a:latin typeface="inter-regular"/>
              </a:rPr>
              <a:t> Used at the end of a pipeline </a:t>
            </a:r>
          </a:p>
          <a:p>
            <a:pPr lvl="1">
              <a:lnSpc>
                <a:spcPct val="150000"/>
              </a:lnSpc>
            </a:pPr>
            <a:r>
              <a:rPr lang="en-US" altLang="en-US" sz="2000" dirty="0">
                <a:latin typeface="inter-regular"/>
              </a:rPr>
              <a:t>They close the stream in some meaningful way. </a:t>
            </a:r>
          </a:p>
          <a:p>
            <a:pPr lvl="1">
              <a:lnSpc>
                <a:spcPct val="150000"/>
              </a:lnSpc>
            </a:pPr>
            <a:r>
              <a:rPr lang="en-US" altLang="en-US" sz="2000" dirty="0">
                <a:latin typeface="inter-regular"/>
              </a:rPr>
              <a:t>Eagerly executed</a:t>
            </a:r>
          </a:p>
          <a:p>
            <a:pPr lvl="1">
              <a:lnSpc>
                <a:spcPct val="150000"/>
              </a:lnSpc>
            </a:pPr>
            <a:r>
              <a:rPr lang="en-US" altLang="en-US" sz="2000" dirty="0">
                <a:latin typeface="inter-regular"/>
              </a:rPr>
              <a:t>Collects the results of stream operations </a:t>
            </a:r>
          </a:p>
          <a:p>
            <a:pPr lvl="1">
              <a:lnSpc>
                <a:spcPct val="150000"/>
              </a:lnSpc>
            </a:pPr>
            <a:r>
              <a:rPr lang="en-US" altLang="en-US" sz="2000" dirty="0">
                <a:latin typeface="inter-regular"/>
              </a:rPr>
              <a:t>Can be collected like lists, integers or simply nothing.</a:t>
            </a:r>
          </a:p>
          <a:p>
            <a:endParaRPr lang="en-US" altLang="en-US" sz="2000" dirty="0">
              <a:latin typeface="inter-regular"/>
            </a:endParaRPr>
          </a:p>
          <a:p>
            <a:r>
              <a:rPr lang="en-US" altLang="en-US" sz="2000" dirty="0">
                <a:latin typeface="inter-regular"/>
              </a:rPr>
              <a:t>Stream become </a:t>
            </a:r>
            <a:r>
              <a:rPr lang="en-US" altLang="en-US" sz="2000" i="1" dirty="0">
                <a:solidFill>
                  <a:srgbClr val="FF0000"/>
                </a:solidFill>
                <a:latin typeface="inter-regular"/>
              </a:rPr>
              <a:t>inaccessible </a:t>
            </a:r>
            <a:r>
              <a:rPr lang="en-US" altLang="en-US" sz="2000" dirty="0">
                <a:solidFill>
                  <a:srgbClr val="FF0000"/>
                </a:solidFill>
                <a:latin typeface="inter-regular"/>
              </a:rPr>
              <a:t>when a </a:t>
            </a:r>
            <a:r>
              <a:rPr lang="en-US" altLang="en-US" sz="2000" u="sng" dirty="0">
                <a:solidFill>
                  <a:srgbClr val="FF0000"/>
                </a:solidFill>
                <a:latin typeface="inter-regular"/>
              </a:rPr>
              <a:t>terminal</a:t>
            </a:r>
            <a:r>
              <a:rPr lang="en-US" altLang="en-US" sz="2000" dirty="0">
                <a:solidFill>
                  <a:srgbClr val="FF0000"/>
                </a:solidFill>
                <a:latin typeface="inter-regular"/>
              </a:rPr>
              <a:t> operation</a:t>
            </a:r>
            <a:r>
              <a:rPr lang="en-US" altLang="en-US" sz="2000" dirty="0">
                <a:latin typeface="inter-regular"/>
              </a:rPr>
              <a:t> is called</a:t>
            </a:r>
          </a:p>
          <a:p>
            <a:pPr lvl="1"/>
            <a:r>
              <a:rPr lang="en-US" altLang="en-US" sz="2000" dirty="0">
                <a:latin typeface="inter-regular"/>
              </a:rPr>
              <a:t>Will trigger the </a:t>
            </a:r>
            <a:r>
              <a:rPr lang="en-US" altLang="en-US" sz="2000" i="1" dirty="0" err="1">
                <a:latin typeface="inter-regular"/>
              </a:rPr>
              <a:t>IllegalStateException</a:t>
            </a:r>
            <a:r>
              <a:rPr lang="en-US" altLang="en-US" sz="2000" i="1" dirty="0">
                <a:latin typeface="inter-regular"/>
              </a:rPr>
              <a:t> which is a </a:t>
            </a:r>
            <a:r>
              <a:rPr lang="en-US" altLang="en-US" sz="2000" i="1" dirty="0" err="1">
                <a:latin typeface="inter-regular"/>
              </a:rPr>
              <a:t>RuntimeException</a:t>
            </a:r>
            <a:endParaRPr lang="en-US" altLang="en-US" sz="2000" dirty="0">
              <a:latin typeface="inter-regular"/>
            </a:endParaRPr>
          </a:p>
          <a:p>
            <a:pPr>
              <a:lnSpc>
                <a:spcPct val="150000"/>
              </a:lnSpc>
            </a:pPr>
            <a:r>
              <a:rPr lang="en-US" altLang="en-US" sz="2000" b="1" dirty="0">
                <a:latin typeface="inter-regular"/>
              </a:rPr>
              <a:t>Example : collect() ,count() ,</a:t>
            </a:r>
            <a:r>
              <a:rPr lang="en-US" altLang="en-US" sz="2000" b="1" dirty="0" err="1">
                <a:latin typeface="inter-regular"/>
              </a:rPr>
              <a:t>forEach</a:t>
            </a:r>
            <a:r>
              <a:rPr lang="en-US" altLang="en-US" sz="2000" b="1" dirty="0">
                <a:latin typeface="inter-regular"/>
              </a:rPr>
              <a:t>(), min() ,max()</a:t>
            </a:r>
            <a:endParaRPr lang="en-US" altLang="en-US" sz="2000" b="1" dirty="0">
              <a:latin typeface="inter-regular"/>
              <a:hlinkClick r:id="rId6"/>
            </a:endParaRPr>
          </a:p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sz="2000" b="0" i="0" dirty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Content Placeholder 3" descr="stream_ops.png">
            <a:extLst>
              <a:ext uri="{FF2B5EF4-FFF2-40B4-BE49-F238E27FC236}">
                <a16:creationId xmlns:a16="http://schemas.microsoft.com/office/drawing/2014/main" id="{8D044D7E-86CE-5958-F62B-54E96FE4B78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432054"/>
            <a:ext cx="6583536" cy="4740146"/>
          </a:xfrm>
        </p:spPr>
      </p:pic>
      <p:pic>
        <p:nvPicPr>
          <p:cNvPr id="5" name="Content Placeholder 3" descr="stream_ops.png">
            <a:extLst>
              <a:ext uri="{FF2B5EF4-FFF2-40B4-BE49-F238E27FC236}">
                <a16:creationId xmlns:a16="http://schemas.microsoft.com/office/drawing/2014/main" id="{84EDB205-AEFC-2F70-3680-BAF8CE4658F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3736" y="1237755"/>
            <a:ext cx="6957000" cy="4608855"/>
          </a:xfrm>
        </p:spPr>
      </p:pic>
    </p:spTree>
    <p:extLst>
      <p:ext uri="{BB962C8B-B14F-4D97-AF65-F5344CB8AC3E}">
        <p14:creationId xmlns:p14="http://schemas.microsoft.com/office/powerpoint/2010/main" val="189009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men Grid 16:9 - 25668">
  <a:themeElements>
    <a:clrScheme name="Custom 1">
      <a:dk1>
        <a:srgbClr val="000000"/>
      </a:dk1>
      <a:lt1>
        <a:srgbClr val="FFFFFF"/>
      </a:lt1>
      <a:dk2>
        <a:srgbClr val="38C6F3"/>
      </a:dk2>
      <a:lt2>
        <a:srgbClr val="F2F2F2"/>
      </a:lt2>
      <a:accent1>
        <a:srgbClr val="083076"/>
      </a:accent1>
      <a:accent2>
        <a:srgbClr val="0075C9"/>
      </a:accent2>
      <a:accent3>
        <a:srgbClr val="FF9E18"/>
      </a:accent3>
      <a:accent4>
        <a:srgbClr val="0C9ED9"/>
      </a:accent4>
      <a:accent5>
        <a:srgbClr val="B3B3B3"/>
      </a:accent5>
      <a:accent6>
        <a:srgbClr val="E77528"/>
      </a:accent6>
      <a:hlink>
        <a:srgbClr val="E1251B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8C6F3"/>
        </a:solidFill>
        <a:ln w="9525" cap="rnd" cmpd="sng" algn="ctr">
          <a:solidFill>
            <a:srgbClr val="38C6F3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D2C6DBDE1FB8479D453D89F4E66233" ma:contentTypeVersion="8" ma:contentTypeDescription="Create a new document." ma:contentTypeScope="" ma:versionID="437f003096f8432d41741693169afcf5">
  <xsd:schema xmlns:xsd="http://www.w3.org/2001/XMLSchema" xmlns:xs="http://www.w3.org/2001/XMLSchema" xmlns:p="http://schemas.microsoft.com/office/2006/metadata/properties" xmlns:ns2="aff37bb9-2b05-4d82-9c4c-29c900e66ac7" targetNamespace="http://schemas.microsoft.com/office/2006/metadata/properties" ma:root="true" ma:fieldsID="d7931bd52aa476497b6edc5a325191d1" ns2:_="">
    <xsd:import namespace="aff37bb9-2b05-4d82-9c4c-29c900e66a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f37bb9-2b05-4d82-9c4c-29c900e66a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FF2727-BC43-4F5E-BE48-8E9C99114554}"/>
</file>

<file path=customXml/itemProps2.xml><?xml version="1.0" encoding="utf-8"?>
<ds:datastoreItem xmlns:ds="http://schemas.openxmlformats.org/officeDocument/2006/customXml" ds:itemID="{7ED2B591-972A-4177-8D4B-AC4AABD8A0EC}"/>
</file>

<file path=docMetadata/LabelInfo.xml><?xml version="1.0" encoding="utf-8"?>
<clbl:labelList xmlns:clbl="http://schemas.microsoft.com/office/2020/mipLabelMetadata">
  <clbl:label id="{72b17115-9915-42c0-9f1b-4f98e5a4bcd2}" enabled="0" method="" siteId="{72b17115-9915-42c0-9f1b-4f98e5a4bc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368</TotalTime>
  <Words>1513</Words>
  <Application>Microsoft Office PowerPoint</Application>
  <PresentationFormat>On-screen Show (4:3)</PresentationFormat>
  <Paragraphs>185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Arial Black</vt:lpstr>
      <vt:lpstr>Calibri</vt:lpstr>
      <vt:lpstr>inter-regular</vt:lpstr>
      <vt:lpstr>Trebuchet MS</vt:lpstr>
      <vt:lpstr>Wingdings</vt:lpstr>
      <vt:lpstr>Lumen Grid 16:9 - 25668</vt:lpstr>
      <vt:lpstr>think-cell Slide</vt:lpstr>
      <vt:lpstr>PowerPoint Presentation</vt:lpstr>
      <vt:lpstr>Streams</vt:lpstr>
      <vt:lpstr>Streams</vt:lpstr>
      <vt:lpstr>Characteristics of Streams</vt:lpstr>
      <vt:lpstr>Collections vs Streams</vt:lpstr>
      <vt:lpstr>Structure of Java 8 Stream Operations</vt:lpstr>
      <vt:lpstr>Stream Operations</vt:lpstr>
      <vt:lpstr>Operation Categories</vt:lpstr>
      <vt:lpstr>Operation Categories</vt:lpstr>
      <vt:lpstr>Types of Intermediate Operations</vt:lpstr>
      <vt:lpstr>Stateless Intermediate Operations:</vt:lpstr>
      <vt:lpstr>Filter()</vt:lpstr>
      <vt:lpstr>Map()</vt:lpstr>
      <vt:lpstr>Distinct()</vt:lpstr>
      <vt:lpstr>Sorted</vt:lpstr>
      <vt:lpstr>Limit(n)</vt:lpstr>
      <vt:lpstr>limit(n) &amp; skip(n)</vt:lpstr>
      <vt:lpstr>Terminal operations</vt:lpstr>
      <vt:lpstr>Stream Reduction</vt:lpstr>
      <vt:lpstr>Max , Min ,Count</vt:lpstr>
      <vt:lpstr>Count</vt:lpstr>
      <vt:lpstr>Collect()</vt:lpstr>
      <vt:lpstr>Lab Exercis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dia</dc:creator>
  <cp:lastModifiedBy>Ladigonda, Veeranna Goud</cp:lastModifiedBy>
  <cp:revision>102</cp:revision>
  <dcterms:created xsi:type="dcterms:W3CDTF">2006-08-16T00:00:00Z</dcterms:created>
  <dcterms:modified xsi:type="dcterms:W3CDTF">2024-02-20T08:24:37Z</dcterms:modified>
</cp:coreProperties>
</file>